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06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14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slideLayouts/slideLayout110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3.xml" ContentType="application/vnd.openxmlformats-officedocument.presentationml.tags+xml"/>
  <Override PartName="/ppt/slideLayouts/slideLayout99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drawings/legacyDiagramText1.bin" ContentType="application/vnd.ms-office.legacyDiagramText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15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14.xml" ContentType="application/vnd.openxmlformats-officedocument.presentationml.tags+xml"/>
  <Override PartName="/ppt/slideLayouts/slideLayout100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12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ags/tag15.xml" ContentType="application/vnd.openxmlformats-officedocument.presentationml.tags+xml"/>
  <Override PartName="/ppt/slideMasters/slideMaster7.xml" ContentType="application/vnd.openxmlformats-officedocument.presentationml.slideMaster+xml"/>
  <Override PartName="/ppt/theme/theme9.xml" ContentType="application/vnd.openxmlformats-officedocument.theme+xml"/>
  <Override PartName="/ppt/legacyDocTextInfo.bin" ContentType="application/vnd.ms-office.legacyDocTextInfo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1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  <p:sldMasterId id="2147483684" r:id="rId3"/>
    <p:sldMasterId id="2147483698" r:id="rId4"/>
    <p:sldMasterId id="2147483712" r:id="rId5"/>
    <p:sldMasterId id="2147483726" r:id="rId6"/>
    <p:sldMasterId id="2147483740" r:id="rId7"/>
    <p:sldMasterId id="2147483754" r:id="rId8"/>
    <p:sldMasterId id="2147483781" r:id="rId9"/>
  </p:sldMasterIdLst>
  <p:notesMasterIdLst>
    <p:notesMasterId r:id="rId32"/>
  </p:notesMasterIdLst>
  <p:sldIdLst>
    <p:sldId id="506" r:id="rId10"/>
    <p:sldId id="1917" r:id="rId11"/>
    <p:sldId id="1879" r:id="rId12"/>
    <p:sldId id="1671" r:id="rId13"/>
    <p:sldId id="1866" r:id="rId14"/>
    <p:sldId id="1868" r:id="rId15"/>
    <p:sldId id="1863" r:id="rId16"/>
    <p:sldId id="1864" r:id="rId17"/>
    <p:sldId id="1869" r:id="rId18"/>
    <p:sldId id="1885" r:id="rId19"/>
    <p:sldId id="1919" r:id="rId20"/>
    <p:sldId id="1754" r:id="rId21"/>
    <p:sldId id="1755" r:id="rId22"/>
    <p:sldId id="1756" r:id="rId23"/>
    <p:sldId id="1870" r:id="rId24"/>
    <p:sldId id="1873" r:id="rId25"/>
    <p:sldId id="1871" r:id="rId26"/>
    <p:sldId id="1874" r:id="rId27"/>
    <p:sldId id="1918" r:id="rId28"/>
    <p:sldId id="1881" r:id="rId29"/>
    <p:sldId id="1915" r:id="rId30"/>
    <p:sldId id="1916" r:id="rId31"/>
  </p:sldIdLst>
  <p:sldSz cx="12192000" cy="6858000"/>
  <p:notesSz cx="6797675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80" userDrawn="1">
          <p15:clr>
            <a:srgbClr val="A4A3A4"/>
          </p15:clr>
        </p15:guide>
        <p15:guide id="2" pos="7469" userDrawn="1">
          <p15:clr>
            <a:srgbClr val="A4A3A4"/>
          </p15:clr>
        </p15:guide>
        <p15:guide id="3" pos="208" userDrawn="1">
          <p15:clr>
            <a:srgbClr val="A4A3A4"/>
          </p15:clr>
        </p15:guide>
        <p15:guide id="4" orient="horz" pos="2806" userDrawn="1">
          <p15:clr>
            <a:srgbClr val="A4A3A4"/>
          </p15:clr>
        </p15:guide>
        <p15:guide id="5" orient="horz" pos="4130" userDrawn="1">
          <p15:clr>
            <a:srgbClr val="A4A3A4"/>
          </p15:clr>
        </p15:guide>
        <p15:guide id="6" orient="horz" pos="2286" userDrawn="1">
          <p15:clr>
            <a:srgbClr val="A4A3A4"/>
          </p15:clr>
        </p15:guide>
        <p15:guide id="7" pos="741" userDrawn="1">
          <p15:clr>
            <a:srgbClr val="A4A3A4"/>
          </p15:clr>
        </p15:guide>
        <p15:guide id="8" pos="1642" userDrawn="1">
          <p15:clr>
            <a:srgbClr val="A4A3A4"/>
          </p15:clr>
        </p15:guide>
        <p15:guide id="9" pos="3444" userDrawn="1">
          <p15:clr>
            <a:srgbClr val="A4A3A4"/>
          </p15:clr>
        </p15:guide>
        <p15:guide id="10" pos="4381" userDrawn="1">
          <p15:clr>
            <a:srgbClr val="A4A3A4"/>
          </p15:clr>
        </p15:guide>
        <p15:guide id="11" pos="5043" userDrawn="1">
          <p15:clr>
            <a:srgbClr val="A4A3A4"/>
          </p15:clr>
        </p15:guide>
        <p15:guide id="12" pos="5558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66"/>
    <a:srgbClr val="0D162D"/>
    <a:srgbClr val="294790"/>
    <a:srgbClr val="F8188D"/>
    <a:srgbClr val="FF11FF"/>
    <a:srgbClr val="345DAE"/>
    <a:srgbClr val="6C4436"/>
    <a:srgbClr val="955E4B"/>
    <a:srgbClr val="7D8525"/>
    <a:srgbClr val="D2DA7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3885" autoAdjust="0"/>
  </p:normalViewPr>
  <p:slideViewPr>
    <p:cSldViewPr snapToGrid="0">
      <p:cViewPr>
        <p:scale>
          <a:sx n="72" d="100"/>
          <a:sy n="72" d="100"/>
        </p:scale>
        <p:origin x="-1146" y="-306"/>
      </p:cViewPr>
      <p:guideLst>
        <p:guide orient="horz" pos="680"/>
        <p:guide orient="horz" pos="2806"/>
        <p:guide orient="horz" pos="4130"/>
        <p:guide orient="horz" pos="2286"/>
        <p:guide pos="7469"/>
        <p:guide pos="208"/>
        <p:guide pos="741"/>
        <p:guide pos="1642"/>
        <p:guide pos="3444"/>
        <p:guide pos="4381"/>
        <p:guide pos="5043"/>
        <p:guide pos="55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notesMaster" Target="notesMasters/notesMaster1.xml"/><Relationship Id="rId37" Type="http://schemas.microsoft.com/office/2006/relationships/legacyDocTextInfo" Target="legacyDocTextInfo.bin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microsoft.com/office/2006/relationships/legacyDiagramText" Target="legacyDiagramText1.bin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4"/>
            <a:ext cx="2945659" cy="495349"/>
          </a:xfrm>
          <a:prstGeom prst="rect">
            <a:avLst/>
          </a:prstGeom>
        </p:spPr>
        <p:txBody>
          <a:bodyPr vert="horz" lIns="90982" tIns="45490" rIns="90982" bIns="4549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4"/>
            <a:ext cx="2945659" cy="495349"/>
          </a:xfrm>
          <a:prstGeom prst="rect">
            <a:avLst/>
          </a:prstGeom>
        </p:spPr>
        <p:txBody>
          <a:bodyPr vert="horz" lIns="90982" tIns="45490" rIns="90982" bIns="45490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29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82" tIns="45490" rIns="90982" bIns="4549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9" y="4751220"/>
            <a:ext cx="5438140" cy="3887361"/>
          </a:xfrm>
          <a:prstGeom prst="rect">
            <a:avLst/>
          </a:prstGeom>
        </p:spPr>
        <p:txBody>
          <a:bodyPr vert="horz" lIns="90982" tIns="45490" rIns="90982" bIns="4549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7319"/>
            <a:ext cx="2945659" cy="495347"/>
          </a:xfrm>
          <a:prstGeom prst="rect">
            <a:avLst/>
          </a:prstGeom>
        </p:spPr>
        <p:txBody>
          <a:bodyPr vert="horz" lIns="90982" tIns="45490" rIns="90982" bIns="4549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377319"/>
            <a:ext cx="2945659" cy="495347"/>
          </a:xfrm>
          <a:prstGeom prst="rect">
            <a:avLst/>
          </a:prstGeom>
        </p:spPr>
        <p:txBody>
          <a:bodyPr vert="horz" lIns="90982" tIns="45490" rIns="90982" bIns="45490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36563" y="1233488"/>
            <a:ext cx="5924550" cy="33321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653610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36563" y="1233488"/>
            <a:ext cx="5924550" cy="33321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20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ru-RU" dirty="0" smtClean="0"/>
              <a:t>Основа организации исследования математической грамотности включает три структурных компонента: </a:t>
            </a:r>
          </a:p>
          <a:p>
            <a:pPr lvl="0"/>
            <a:r>
              <a:rPr lang="ru-RU" i="1" dirty="0" smtClean="0"/>
              <a:t>контекст,</a:t>
            </a:r>
            <a:r>
              <a:rPr lang="ru-RU" dirty="0" smtClean="0"/>
              <a:t> в котором представлена проблема;</a:t>
            </a:r>
          </a:p>
          <a:p>
            <a:pPr lvl="0"/>
            <a:r>
              <a:rPr lang="ru-RU" i="1" dirty="0" smtClean="0"/>
              <a:t>содержание математического образования</a:t>
            </a:r>
            <a:r>
              <a:rPr lang="ru-RU" dirty="0" smtClean="0"/>
              <a:t>, которое используется в заданиях;</a:t>
            </a:r>
          </a:p>
          <a:p>
            <a:pPr lvl="0"/>
            <a:r>
              <a:rPr lang="ru-RU" i="1" dirty="0" smtClean="0"/>
              <a:t>мыслительная деятельность, </a:t>
            </a:r>
            <a:r>
              <a:rPr lang="ru-RU" dirty="0" smtClean="0"/>
              <a:t>необходимая для того, чтобы связать контекст, в котором представлена проблема, с математическим содержанием, необходимым для ее решения.</a:t>
            </a:r>
          </a:p>
          <a:p>
            <a:r>
              <a:rPr lang="ru-RU" b="1" dirty="0" smtClean="0"/>
              <a:t>Контекст задания —</a:t>
            </a:r>
            <a:r>
              <a:rPr lang="ru-RU" dirty="0" smtClean="0"/>
              <a:t> это особенности и элементы окружающей обстановки, представленные в задании в рамках предлагаемой ситуации. Выделены 4 категории контекстов, близкие учащимся: </a:t>
            </a:r>
            <a:r>
              <a:rPr lang="ru-RU" i="1" dirty="0" smtClean="0"/>
              <a:t>общественная жизнь, личная жизнь, образование / профессиональная деятельность, научная деятельность.</a:t>
            </a:r>
            <a:endParaRPr lang="ru-RU" dirty="0" smtClean="0"/>
          </a:p>
          <a:p>
            <a:r>
              <a:rPr lang="ru-RU" b="1" dirty="0" smtClean="0"/>
              <a:t>Математическое содержание</a:t>
            </a:r>
            <a:r>
              <a:rPr lang="ru-RU" dirty="0" smtClean="0"/>
              <a:t> заданий распределено по 4-м категориям, которые охватывают основные типы проблем, возникающих при взаимодействии с повседневными явлениями и изучаются в школьном курсе математики:</a:t>
            </a:r>
          </a:p>
          <a:p>
            <a:r>
              <a:rPr lang="ru-RU" i="1" dirty="0" smtClean="0"/>
              <a:t>– изменение и зависимости —</a:t>
            </a:r>
            <a:r>
              <a:rPr lang="ru-RU" dirty="0" smtClean="0"/>
              <a:t> задания, связанные с математическим описанием зависимости между переменными в различных процессах, т.е. с алгебраическим материалом;</a:t>
            </a:r>
          </a:p>
          <a:p>
            <a:r>
              <a:rPr lang="ru-RU" dirty="0" smtClean="0"/>
              <a:t>– </a:t>
            </a:r>
            <a:r>
              <a:rPr lang="ru-RU" i="1" dirty="0" smtClean="0"/>
              <a:t>пространство и форма —</a:t>
            </a:r>
            <a:r>
              <a:rPr lang="ru-RU" dirty="0" smtClean="0"/>
              <a:t> задания, относящиеся к пространственным и плоским геометрическим формам и отношениям, т.е. к геометрическому материалу; </a:t>
            </a:r>
          </a:p>
          <a:p>
            <a:r>
              <a:rPr lang="ru-RU" dirty="0" smtClean="0"/>
              <a:t>– к</a:t>
            </a:r>
            <a:r>
              <a:rPr lang="ru-RU" i="1" dirty="0" smtClean="0"/>
              <a:t>оличество —</a:t>
            </a:r>
            <a:r>
              <a:rPr lang="ru-RU" dirty="0" smtClean="0"/>
              <a:t> задания, связанные с числами и отношениями между ними, в программах по математике этот материал чаще всего относится к курсу арифметики; </a:t>
            </a:r>
          </a:p>
          <a:p>
            <a:r>
              <a:rPr lang="ru-RU" i="1" dirty="0" smtClean="0"/>
              <a:t>– неопределенность и данные —</a:t>
            </a:r>
            <a:r>
              <a:rPr lang="ru-RU" dirty="0" smtClean="0"/>
              <a:t> задания охватывают вероятностные и статистические явления и зависимости, которые являются предметом изучения разделов статистики и вероятности. </a:t>
            </a:r>
          </a:p>
          <a:p>
            <a:r>
              <a:rPr lang="ru-RU" dirty="0" smtClean="0"/>
              <a:t>Для описания </a:t>
            </a:r>
            <a:r>
              <a:rPr lang="ru-RU" b="1" dirty="0" smtClean="0"/>
              <a:t>мыслительной деятельности</a:t>
            </a:r>
            <a:r>
              <a:rPr lang="ru-RU" dirty="0" smtClean="0"/>
              <a:t> при разрешении предложенных проблем используются следующие виды действий: </a:t>
            </a:r>
          </a:p>
          <a:p>
            <a:pPr lvl="0"/>
            <a:r>
              <a:rPr lang="ru-RU" dirty="0" smtClean="0"/>
              <a:t> формулировать ситуацию на языке математики;</a:t>
            </a:r>
          </a:p>
          <a:p>
            <a:pPr lvl="0"/>
            <a:r>
              <a:rPr lang="ru-RU" dirty="0" smtClean="0"/>
              <a:t> применять математические понятия, факты, процедуры;</a:t>
            </a:r>
          </a:p>
          <a:p>
            <a:pPr lvl="0"/>
            <a:r>
              <a:rPr lang="ru-RU" dirty="0" smtClean="0"/>
              <a:t> интерпретировать, использовать и оценивать математические результаты;</a:t>
            </a:r>
          </a:p>
          <a:p>
            <a:pPr lvl="0"/>
            <a:r>
              <a:rPr lang="ru-RU" dirty="0" smtClean="0"/>
              <a:t> рассуждать: здесь учащимся потребуется продемонстрировать, как они умеют размышлять над аргументами, обоснованиями и выводами, над различными способами представления ситуации на языке математики, над рациональностью применяемого математического аппарата, над возможностями оценки и интерпретации полученных результатов с учетом особенностей предлагаемой ситуации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9.v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60.v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6.v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8.v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9.v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5.v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6.v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7.v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3.v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5.v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26.v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1.v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3.v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34.v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0.v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2.v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43.v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8.v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0.v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51.v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8.xml"/><Relationship Id="rId1" Type="http://schemas.openxmlformats.org/officeDocument/2006/relationships/vmlDrawing" Target="../drawings/vmlDrawing57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3" y="1122363"/>
            <a:ext cx="9144001" cy="2387600"/>
          </a:xfrm>
        </p:spPr>
        <p:txBody>
          <a:bodyPr anchor="b"/>
          <a:lstStyle>
            <a:lvl1pPr algn="ctr">
              <a:defRPr sz="6000">
                <a:solidFill>
                  <a:srgbClr val="29479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3" y="3602042"/>
            <a:ext cx="914400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D5EA3D-460D-4B2E-9F65-C0D556FB7407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16835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3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3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D8C35-D9BB-4137-AEED-01AC3E9DE2A3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65618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1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60924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4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733326242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p:oleObj spid="_x0000_s66568" name="think-cell Slide" r:id="rId5" imgW="360" imgH="360" progId="">
              <p:embed/>
            </p:oleObj>
          </a:graphicData>
        </a:graphic>
      </p:graphicFrame>
      <p:sp>
        <p:nvSpPr>
          <p:cNvPr id="5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36552" y="6688142"/>
            <a:ext cx="479901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en-US" sz="800">
                <a:solidFill>
                  <a:srgbClr val="FFFFFF"/>
                </a:solidFill>
              </a:rPr>
              <a:t>© </a:t>
            </a:r>
            <a:r>
              <a:rPr lang="ru-RU" sz="80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5924551" y="6508756"/>
            <a:ext cx="3385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493EF0BC-4C10-4B20-B516-189F4966F4FF}" type="slidenum">
              <a:rPr lang="ru-RU" altLang="ru-RU" sz="1000" b="1">
                <a:solidFill>
                  <a:srgbClr val="2F2F2F"/>
                </a:solidFill>
                <a:latin typeface="Calibri" panose="020F0502020204030204" pitchFamily="34" charset="0"/>
              </a:rPr>
              <a:pPr eaLnBrk="1" hangingPunct="1"/>
              <a:t>‹#›</a:t>
            </a:fld>
            <a:endParaRPr lang="ru-RU" altLang="ru-RU" sz="1000">
              <a:solidFill>
                <a:srgbClr val="181818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2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10" name="Рисунок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8388" y="6208713"/>
            <a:ext cx="20351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2206"/>
          <a:stretch>
            <a:fillRect/>
          </a:stretch>
        </p:blipFill>
        <p:spPr bwMode="auto">
          <a:xfrm>
            <a:off x="10952163" y="6203950"/>
            <a:ext cx="90487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38097"/>
            <a:ext cx="11519999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72904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42310999"/>
              </p:ext>
            </p:ext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p:oleObj spid="_x0000_s67592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563852" y="1268760"/>
            <a:ext cx="11290581" cy="4680520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3856" y="260652"/>
            <a:ext cx="10174923" cy="5760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4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770428" y="-689236"/>
            <a:ext cx="45719" cy="36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1759639" y="-719941"/>
            <a:ext cx="67290" cy="36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0292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8" y="4406901"/>
            <a:ext cx="10363199" cy="136207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8" y="2906714"/>
            <a:ext cx="10363199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34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460BE020-E3D2-4B40-A05B-7CD782450F67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D2BAD091-9B88-4E15-8364-95918717355E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1777732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1379580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68616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129444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88845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3" y="2130426"/>
            <a:ext cx="10363201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3" y="3886201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153566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4640"/>
            <a:ext cx="10972800" cy="741862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760874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7" y="4406902"/>
            <a:ext cx="10363201" cy="1362076"/>
          </a:xfrm>
        </p:spPr>
        <p:txBody>
          <a:bodyPr anchor="t"/>
          <a:lstStyle>
            <a:lvl1pPr algn="l">
              <a:defRPr sz="47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7" y="2906715"/>
            <a:ext cx="10363201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2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5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5638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1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7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89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2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25386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5" y="1600203"/>
            <a:ext cx="5384800" cy="452596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3" y="1600203"/>
            <a:ext cx="5384800" cy="452596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211932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3" y="1535116"/>
            <a:ext cx="5386916" cy="639761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284" indent="0">
              <a:buNone/>
              <a:defRPr sz="2300" b="1"/>
            </a:lvl2pPr>
            <a:lvl3pPr marL="1042569" indent="0">
              <a:buNone/>
              <a:defRPr sz="2100" b="1"/>
            </a:lvl3pPr>
            <a:lvl4pPr marL="1563853" indent="0">
              <a:buNone/>
              <a:defRPr sz="1900" b="1"/>
            </a:lvl4pPr>
            <a:lvl5pPr marL="2085137" indent="0">
              <a:buNone/>
              <a:defRPr sz="1900" b="1"/>
            </a:lvl5pPr>
            <a:lvl6pPr marL="2606422" indent="0">
              <a:buNone/>
              <a:defRPr sz="1900" b="1"/>
            </a:lvl6pPr>
            <a:lvl7pPr marL="3127706" indent="0">
              <a:buNone/>
              <a:defRPr sz="1900" b="1"/>
            </a:lvl7pPr>
            <a:lvl8pPr marL="3648990" indent="0">
              <a:buNone/>
              <a:defRPr sz="1900" b="1"/>
            </a:lvl8pPr>
            <a:lvl9pPr marL="4170275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3" y="2174878"/>
            <a:ext cx="5386916" cy="3951286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6"/>
            <a:ext cx="5389034" cy="639761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284" indent="0">
              <a:buNone/>
              <a:defRPr sz="2300" b="1"/>
            </a:lvl2pPr>
            <a:lvl3pPr marL="1042569" indent="0">
              <a:buNone/>
              <a:defRPr sz="2100" b="1"/>
            </a:lvl3pPr>
            <a:lvl4pPr marL="1563853" indent="0">
              <a:buNone/>
              <a:defRPr sz="1900" b="1"/>
            </a:lvl4pPr>
            <a:lvl5pPr marL="2085137" indent="0">
              <a:buNone/>
              <a:defRPr sz="1900" b="1"/>
            </a:lvl5pPr>
            <a:lvl6pPr marL="2606422" indent="0">
              <a:buNone/>
              <a:defRPr sz="1900" b="1"/>
            </a:lvl6pPr>
            <a:lvl7pPr marL="3127706" indent="0">
              <a:buNone/>
              <a:defRPr sz="1900" b="1"/>
            </a:lvl7pPr>
            <a:lvl8pPr marL="3648990" indent="0">
              <a:buNone/>
              <a:defRPr sz="1900" b="1"/>
            </a:lvl8pPr>
            <a:lvl9pPr marL="4170275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8"/>
            <a:ext cx="5389034" cy="3951286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9197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3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9C6133-F034-4DD0-BF67-FDED45B853E7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94837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960959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206675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4" y="273052"/>
            <a:ext cx="4011084" cy="1162050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6" y="273052"/>
            <a:ext cx="6815666" cy="5853112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4" y="1435102"/>
            <a:ext cx="4011084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21284" indent="0">
              <a:buNone/>
              <a:defRPr sz="1500"/>
            </a:lvl2pPr>
            <a:lvl3pPr marL="1042569" indent="0">
              <a:buNone/>
              <a:defRPr sz="1100"/>
            </a:lvl3pPr>
            <a:lvl4pPr marL="1563853" indent="0">
              <a:buNone/>
              <a:defRPr sz="1100"/>
            </a:lvl4pPr>
            <a:lvl5pPr marL="2085137" indent="0">
              <a:buNone/>
              <a:defRPr sz="1100"/>
            </a:lvl5pPr>
            <a:lvl6pPr marL="2606422" indent="0">
              <a:buNone/>
              <a:defRPr sz="1100"/>
            </a:lvl6pPr>
            <a:lvl7pPr marL="3127706" indent="0">
              <a:buNone/>
              <a:defRPr sz="1100"/>
            </a:lvl7pPr>
            <a:lvl8pPr marL="3648990" indent="0">
              <a:buNone/>
              <a:defRPr sz="1100"/>
            </a:lvl8pPr>
            <a:lvl9pPr marL="4170275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173015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8" y="4800602"/>
            <a:ext cx="7315200" cy="566738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3600"/>
            </a:lvl1pPr>
            <a:lvl2pPr marL="521284" indent="0">
              <a:buNone/>
              <a:defRPr sz="3200"/>
            </a:lvl2pPr>
            <a:lvl3pPr marL="1042569" indent="0">
              <a:buNone/>
              <a:defRPr sz="2700"/>
            </a:lvl3pPr>
            <a:lvl4pPr marL="1563853" indent="0">
              <a:buNone/>
              <a:defRPr sz="2300"/>
            </a:lvl4pPr>
            <a:lvl5pPr marL="2085137" indent="0">
              <a:buNone/>
              <a:defRPr sz="2300"/>
            </a:lvl5pPr>
            <a:lvl6pPr marL="2606422" indent="0">
              <a:buNone/>
              <a:defRPr sz="2300"/>
            </a:lvl6pPr>
            <a:lvl7pPr marL="3127706" indent="0">
              <a:buNone/>
              <a:defRPr sz="2300"/>
            </a:lvl7pPr>
            <a:lvl8pPr marL="3648990" indent="0">
              <a:buNone/>
              <a:defRPr sz="2300"/>
            </a:lvl8pPr>
            <a:lvl9pPr marL="4170275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8" y="5367340"/>
            <a:ext cx="7315200" cy="804861"/>
          </a:xfrm>
        </p:spPr>
        <p:txBody>
          <a:bodyPr/>
          <a:lstStyle>
            <a:lvl1pPr marL="0" indent="0">
              <a:buNone/>
              <a:defRPr sz="1600"/>
            </a:lvl1pPr>
            <a:lvl2pPr marL="521284" indent="0">
              <a:buNone/>
              <a:defRPr sz="1500"/>
            </a:lvl2pPr>
            <a:lvl3pPr marL="1042569" indent="0">
              <a:buNone/>
              <a:defRPr sz="1100"/>
            </a:lvl3pPr>
            <a:lvl4pPr marL="1563853" indent="0">
              <a:buNone/>
              <a:defRPr sz="1100"/>
            </a:lvl4pPr>
            <a:lvl5pPr marL="2085137" indent="0">
              <a:buNone/>
              <a:defRPr sz="1100"/>
            </a:lvl5pPr>
            <a:lvl6pPr marL="2606422" indent="0">
              <a:buNone/>
              <a:defRPr sz="1100"/>
            </a:lvl6pPr>
            <a:lvl7pPr marL="3127706" indent="0">
              <a:buNone/>
              <a:defRPr sz="1100"/>
            </a:lvl7pPr>
            <a:lvl8pPr marL="3648990" indent="0">
              <a:buNone/>
              <a:defRPr sz="1100"/>
            </a:lvl8pPr>
            <a:lvl9pPr marL="4170275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342969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363463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2" y="274638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2" y="274638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455782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1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1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034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906162"/>
            <a:ext cx="10515600" cy="1150594"/>
          </a:xfrm>
        </p:spPr>
        <p:txBody>
          <a:bodyPr/>
          <a:lstStyle>
            <a:lvl1pPr>
              <a:defRPr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2076579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907957"/>
            <a:ext cx="5157787" cy="328170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0616" y="204440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907957"/>
            <a:ext cx="5183188" cy="3281706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9404CF-8095-4C47-8748-564FA4DA46EB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008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C0C82C-38B5-4045-8425-418947FAA324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84956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94D4BE-5229-4142-8404-F4DD584635FF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11736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4" y="1037971"/>
            <a:ext cx="3932237" cy="1373659"/>
          </a:xfrm>
        </p:spPr>
        <p:txBody>
          <a:bodyPr anchor="b"/>
          <a:lstStyle>
            <a:lvl1pPr>
              <a:defRPr sz="2000">
                <a:solidFill>
                  <a:srgbClr val="345D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1600" y="134165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4" y="241163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0F717A-07E6-4F87-BDD6-799B6A37DD0F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88730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4" y="987428"/>
            <a:ext cx="3932237" cy="1514817"/>
          </a:xfrm>
        </p:spPr>
        <p:txBody>
          <a:bodyPr anchor="b"/>
          <a:lstStyle>
            <a:lvl1pPr>
              <a:defRPr sz="1800">
                <a:solidFill>
                  <a:srgbClr val="345DAE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2" y="2487830"/>
            <a:ext cx="3932237" cy="338116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2B5B7-2C55-49C5-941B-A73D7940582B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64885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A39B8-7846-4A17-9ED9-307F813F0300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68857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A39CD-F620-4CF4-B7F0-A59BB89B7D47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4491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14400" y="152400"/>
            <a:ext cx="10261600" cy="5334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1828800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741333" y="6248400"/>
            <a:ext cx="3860800" cy="45720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957733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fld id="{7D6A4EF5-9B51-4775-BB91-BD9E25DA961C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20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7CB9-66EA-48D7-824F-3A78AA191542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777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75626880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4104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73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632163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893181607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5128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05815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119978317"/>
              </p:ext>
            </p:extLst>
          </p:nvPr>
        </p:nvGraphicFramePr>
        <p:xfrm>
          <a:off x="1593" y="1590"/>
          <a:ext cx="1588" cy="1588"/>
        </p:xfrm>
        <a:graphic>
          <a:graphicData uri="http://schemas.openxmlformats.org/presentationml/2006/ole">
            <p:oleObj spid="_x0000_s6152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81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8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3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3" y="452132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2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xmlns="" val="2049545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4" y="215865"/>
            <a:ext cx="11684161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25183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1163608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7176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019192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54188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6"/>
            <a:ext cx="12192000" cy="1429173"/>
          </a:xfrm>
          <a:custGeom>
            <a:avLst/>
            <a:gdLst/>
            <a:ahLst/>
            <a:cxnLst/>
            <a:rect l="l" t="t" r="r" b="b"/>
            <a:pathLst>
              <a:path w="9144000" h="1071880">
                <a:moveTo>
                  <a:pt x="0" y="1071549"/>
                </a:moveTo>
                <a:lnTo>
                  <a:pt x="9144000" y="1071549"/>
                </a:lnTo>
                <a:lnTo>
                  <a:pt x="9144000" y="0"/>
                </a:lnTo>
                <a:lnTo>
                  <a:pt x="0" y="0"/>
                </a:lnTo>
                <a:lnTo>
                  <a:pt x="0" y="1071549"/>
                </a:lnTo>
                <a:close/>
              </a:path>
            </a:pathLst>
          </a:custGeom>
          <a:solidFill>
            <a:srgbClr val="2C3392"/>
          </a:solidFill>
        </p:spPr>
        <p:txBody>
          <a:bodyPr wrap="square" lIns="0" tIns="0" rIns="0" bIns="0" rtlCol="0"/>
          <a:lstStyle/>
          <a:p>
            <a:endParaRPr>
              <a:solidFill>
                <a:srgbClr val="181818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380965" y="6286526"/>
            <a:ext cx="2952835" cy="4710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181818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900" b="0" i="0">
                <a:solidFill>
                  <a:srgbClr val="000099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282828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087157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/>
          </p:nvPr>
        </p:nvGraphicFramePr>
        <p:xfrm>
          <a:off x="1592" y="1588"/>
          <a:ext cx="3175" cy="1587"/>
        </p:xfrm>
        <a:graphic>
          <a:graphicData uri="http://schemas.openxmlformats.org/presentationml/2006/ole">
            <p:oleObj spid="_x0000_s8200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0039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49254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1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47566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4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839473608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p:oleObj spid="_x0000_s9224" name="think-cell Slide" r:id="rId5" imgW="360" imgH="360" progId="">
              <p:embed/>
            </p:oleObj>
          </a:graphicData>
        </a:graphic>
      </p:graphicFrame>
      <p:sp>
        <p:nvSpPr>
          <p:cNvPr id="5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36552" y="6688142"/>
            <a:ext cx="479901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en-US" sz="800">
                <a:solidFill>
                  <a:srgbClr val="FFFFFF"/>
                </a:solidFill>
              </a:rPr>
              <a:t>© </a:t>
            </a:r>
            <a:r>
              <a:rPr lang="ru-RU" sz="80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5924551" y="6508756"/>
            <a:ext cx="3385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493EF0BC-4C10-4B20-B516-189F4966F4FF}" type="slidenum">
              <a:rPr lang="ru-RU" altLang="ru-RU" sz="1000" b="1">
                <a:solidFill>
                  <a:srgbClr val="2F2F2F"/>
                </a:solidFill>
                <a:latin typeface="Calibri" panose="020F0502020204030204" pitchFamily="34" charset="0"/>
              </a:rPr>
              <a:pPr eaLnBrk="1" hangingPunct="1"/>
              <a:t>‹#›</a:t>
            </a:fld>
            <a:endParaRPr lang="ru-RU" altLang="ru-RU" sz="1000">
              <a:solidFill>
                <a:srgbClr val="181818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2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10" name="Рисунок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8388" y="6208713"/>
            <a:ext cx="20351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2206"/>
          <a:stretch>
            <a:fillRect/>
          </a:stretch>
        </p:blipFill>
        <p:spPr bwMode="auto">
          <a:xfrm>
            <a:off x="10952163" y="6203950"/>
            <a:ext cx="90487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38097"/>
            <a:ext cx="11519999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11837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20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7CB9-66EA-48D7-824F-3A78AA191542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81" y="1913739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552395" y="151971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275199" y="1497049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80" y="1919552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61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81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12131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130520540"/>
              </p:ext>
            </p:ext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p:oleObj spid="_x0000_s10248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563852" y="1268760"/>
            <a:ext cx="11290581" cy="4680520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3856" y="260652"/>
            <a:ext cx="10174923" cy="5760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4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770428" y="-689236"/>
            <a:ext cx="45719" cy="36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1759639" y="-719941"/>
            <a:ext cx="67290" cy="36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1314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8" y="4406901"/>
            <a:ext cx="10363199" cy="136207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8" y="2906714"/>
            <a:ext cx="10363199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34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460BE020-E3D2-4B40-A05B-7CD782450F67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D2BAD091-9B88-4E15-8364-95918717355E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51620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755380736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11272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129444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44716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78839713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13320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73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575572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2286806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14344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644993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212842654"/>
              </p:ext>
            </p:extLst>
          </p:nvPr>
        </p:nvGraphicFramePr>
        <p:xfrm>
          <a:off x="1593" y="1590"/>
          <a:ext cx="1588" cy="1588"/>
        </p:xfrm>
        <a:graphic>
          <a:graphicData uri="http://schemas.openxmlformats.org/presentationml/2006/ole">
            <p:oleObj spid="_x0000_s15368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81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8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3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3" y="452132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2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xmlns="" val="2720553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4" y="215865"/>
            <a:ext cx="11684161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25170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99412676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16392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3639971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81564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6"/>
            <a:ext cx="12192000" cy="1429173"/>
          </a:xfrm>
          <a:custGeom>
            <a:avLst/>
            <a:gdLst/>
            <a:ahLst/>
            <a:cxnLst/>
            <a:rect l="l" t="t" r="r" b="b"/>
            <a:pathLst>
              <a:path w="9144000" h="1071880">
                <a:moveTo>
                  <a:pt x="0" y="1071549"/>
                </a:moveTo>
                <a:lnTo>
                  <a:pt x="9144000" y="1071549"/>
                </a:lnTo>
                <a:lnTo>
                  <a:pt x="9144000" y="0"/>
                </a:lnTo>
                <a:lnTo>
                  <a:pt x="0" y="0"/>
                </a:lnTo>
                <a:lnTo>
                  <a:pt x="0" y="1071549"/>
                </a:lnTo>
                <a:close/>
              </a:path>
            </a:pathLst>
          </a:custGeom>
          <a:solidFill>
            <a:srgbClr val="2C3392"/>
          </a:solidFill>
        </p:spPr>
        <p:txBody>
          <a:bodyPr wrap="square" lIns="0" tIns="0" rIns="0" bIns="0" rtlCol="0"/>
          <a:lstStyle/>
          <a:p>
            <a:endParaRPr>
              <a:solidFill>
                <a:srgbClr val="181818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380965" y="6286526"/>
            <a:ext cx="2952835" cy="4710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181818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900" b="0" i="0">
                <a:solidFill>
                  <a:srgbClr val="000099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282828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4194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20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7CB9-66EA-48D7-824F-3A78AA191542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81" y="1913739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467600" y="156314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149965" y="1538161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80" y="1919553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61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81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80" y="3096930"/>
            <a:ext cx="4835181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5520051" y="3130152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3252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/>
          </p:nvPr>
        </p:nvGraphicFramePr>
        <p:xfrm>
          <a:off x="1592" y="1588"/>
          <a:ext cx="3175" cy="1587"/>
        </p:xfrm>
        <a:graphic>
          <a:graphicData uri="http://schemas.openxmlformats.org/presentationml/2006/ole">
            <p:oleObj spid="_x0000_s17416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0039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48243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1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45359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192116197"/>
              </p:ext>
            </p:ext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p:oleObj spid="_x0000_s19464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563852" y="1268760"/>
            <a:ext cx="11290581" cy="4680520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3856" y="260652"/>
            <a:ext cx="10174923" cy="5760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4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770428" y="-689236"/>
            <a:ext cx="45719" cy="36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1759639" y="-719941"/>
            <a:ext cx="67290" cy="36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9213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8" y="4406901"/>
            <a:ext cx="10363199" cy="136207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8" y="2906714"/>
            <a:ext cx="10363199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34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460BE020-E3D2-4B40-A05B-7CD782450F67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D2BAD091-9B88-4E15-8364-95918717355E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04613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8242276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20488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129444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36264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586246365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22536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73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149020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038999294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23560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089731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255807902"/>
              </p:ext>
            </p:extLst>
          </p:nvPr>
        </p:nvGraphicFramePr>
        <p:xfrm>
          <a:off x="1593" y="1590"/>
          <a:ext cx="1588" cy="1588"/>
        </p:xfrm>
        <a:graphic>
          <a:graphicData uri="http://schemas.openxmlformats.org/presentationml/2006/ole">
            <p:oleObj spid="_x0000_s24584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81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8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3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3" y="452132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2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xmlns="" val="3432383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4" y="215865"/>
            <a:ext cx="11684161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664549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3475324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25608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2111625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20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7CB9-66EA-48D7-824F-3A78AA191542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235989" y="1913740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6553204" y="1596043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838200" y="1539318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7" y="1919553"/>
            <a:ext cx="3883542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4577659" y="2023162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5989" y="2507790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77" y="4099374"/>
            <a:ext cx="3883542" cy="824282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4577659" y="4132595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5235989" y="4135047"/>
            <a:ext cx="5214301" cy="594053"/>
          </a:xfrm>
          <a:solidFill>
            <a:srgbClr val="D2DA7A"/>
          </a:solidFill>
        </p:spPr>
        <p:txBody>
          <a:bodyPr tIns="144000" rIns="180000"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235989" y="4729097"/>
            <a:ext cx="5214301" cy="1223952"/>
          </a:xfrm>
          <a:solidFill>
            <a:srgbClr val="D2DA7A"/>
          </a:solidFill>
        </p:spPr>
        <p:txBody>
          <a:bodyPr rIns="180000"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5767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33472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/>
          </p:nvPr>
        </p:nvGraphicFramePr>
        <p:xfrm>
          <a:off x="1592" y="1588"/>
          <a:ext cx="3175" cy="1587"/>
        </p:xfrm>
        <a:graphic>
          <a:graphicData uri="http://schemas.openxmlformats.org/presentationml/2006/ole">
            <p:oleObj spid="_x0000_s26632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0039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475236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1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07005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4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23544346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p:oleObj spid="_x0000_s27656" name="think-cell Slide" r:id="rId5" imgW="360" imgH="360" progId="">
              <p:embed/>
            </p:oleObj>
          </a:graphicData>
        </a:graphic>
      </p:graphicFrame>
      <p:sp>
        <p:nvSpPr>
          <p:cNvPr id="5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36552" y="6688142"/>
            <a:ext cx="479901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en-US" sz="800">
                <a:solidFill>
                  <a:srgbClr val="FFFFFF"/>
                </a:solidFill>
              </a:rPr>
              <a:t>© </a:t>
            </a:r>
            <a:r>
              <a:rPr lang="ru-RU" sz="80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5924551" y="6508756"/>
            <a:ext cx="3385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493EF0BC-4C10-4B20-B516-189F4966F4FF}" type="slidenum">
              <a:rPr lang="ru-RU" altLang="ru-RU" sz="1000" b="1">
                <a:solidFill>
                  <a:srgbClr val="2F2F2F"/>
                </a:solidFill>
                <a:latin typeface="Calibri" panose="020F0502020204030204" pitchFamily="34" charset="0"/>
              </a:rPr>
              <a:pPr eaLnBrk="1" hangingPunct="1"/>
              <a:t>‹#›</a:t>
            </a:fld>
            <a:endParaRPr lang="ru-RU" altLang="ru-RU" sz="1000">
              <a:solidFill>
                <a:srgbClr val="181818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2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10" name="Рисунок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8388" y="6208713"/>
            <a:ext cx="20351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2206"/>
          <a:stretch>
            <a:fillRect/>
          </a:stretch>
        </p:blipFill>
        <p:spPr bwMode="auto">
          <a:xfrm>
            <a:off x="10952163" y="6203950"/>
            <a:ext cx="90487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38097"/>
            <a:ext cx="11519999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94547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00272676"/>
              </p:ext>
            </p:ext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p:oleObj spid="_x0000_s28680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563852" y="1268760"/>
            <a:ext cx="11290581" cy="4680520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3856" y="260652"/>
            <a:ext cx="10174923" cy="5760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4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770428" y="-689236"/>
            <a:ext cx="45719" cy="36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1759639" y="-719941"/>
            <a:ext cx="67290" cy="36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2776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8" y="4406901"/>
            <a:ext cx="10363199" cy="136207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8" y="2906714"/>
            <a:ext cx="10363199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34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460BE020-E3D2-4B40-A05B-7CD782450F67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D2BAD091-9B88-4E15-8364-95918717355E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33399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21370027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29704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129444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5208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183282247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31752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73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348049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399950273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32776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47306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32856342"/>
              </p:ext>
            </p:extLst>
          </p:nvPr>
        </p:nvGraphicFramePr>
        <p:xfrm>
          <a:off x="1593" y="1590"/>
          <a:ext cx="1588" cy="1588"/>
        </p:xfrm>
        <a:graphic>
          <a:graphicData uri="http://schemas.openxmlformats.org/presentationml/2006/ole">
            <p:oleObj spid="_x0000_s33800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81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8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3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3" y="452132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2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xmlns="" val="140525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20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7CB9-66EA-48D7-824F-3A78AA191542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78381" y="1913739"/>
            <a:ext cx="5617933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7612476" y="1541042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 algn="l">
              <a:lnSpc>
                <a:spcPct val="80000"/>
              </a:lnSpc>
            </a:pPr>
            <a:endParaRPr lang="ru-RU" sz="1800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1361389" y="1522714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l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l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80" y="1919552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>
            <a:off x="5520051" y="2023161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178381" y="2507789"/>
            <a:ext cx="5617933" cy="2561966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buFont typeface="Arial" panose="020B0604020202020204" pitchFamily="34" charset="0"/>
              <a:buChar char="•"/>
              <a:defRPr sz="1200"/>
            </a:lvl4pPr>
            <a:lvl5pPr marL="171450" indent="-171450"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1180" y="3096933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Нашивка 13"/>
          <p:cNvSpPr/>
          <p:nvPr userDrawn="1"/>
        </p:nvSpPr>
        <p:spPr>
          <a:xfrm>
            <a:off x="5520051" y="3130152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11180" y="4274306"/>
            <a:ext cx="4835181" cy="691843"/>
          </a:xfrm>
          <a:solidFill>
            <a:srgbClr val="E9E3E1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шивка 13"/>
          <p:cNvSpPr/>
          <p:nvPr userDrawn="1"/>
        </p:nvSpPr>
        <p:spPr>
          <a:xfrm>
            <a:off x="5520051" y="4307525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5674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4" y="215865"/>
            <a:ext cx="11684161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399830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/>
          </p:nvPr>
        </p:nvGraphicFramePr>
        <p:xfrm>
          <a:off x="1592" y="1588"/>
          <a:ext cx="3175" cy="1587"/>
        </p:xfrm>
        <a:graphic>
          <a:graphicData uri="http://schemas.openxmlformats.org/presentationml/2006/ole">
            <p:oleObj spid="_x0000_s35848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0039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711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1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17238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4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43690815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p:oleObj spid="_x0000_s36872" name="think-cell Slide" r:id="rId5" imgW="360" imgH="360" progId="">
              <p:embed/>
            </p:oleObj>
          </a:graphicData>
        </a:graphic>
      </p:graphicFrame>
      <p:sp>
        <p:nvSpPr>
          <p:cNvPr id="5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36552" y="6688142"/>
            <a:ext cx="479901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en-US" sz="800">
                <a:solidFill>
                  <a:srgbClr val="FFFFFF"/>
                </a:solidFill>
              </a:rPr>
              <a:t>© </a:t>
            </a:r>
            <a:r>
              <a:rPr lang="ru-RU" sz="80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5924551" y="6508756"/>
            <a:ext cx="3385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493EF0BC-4C10-4B20-B516-189F4966F4FF}" type="slidenum">
              <a:rPr lang="ru-RU" altLang="ru-RU" sz="1000" b="1">
                <a:solidFill>
                  <a:srgbClr val="2F2F2F"/>
                </a:solidFill>
                <a:latin typeface="Calibri" panose="020F0502020204030204" pitchFamily="34" charset="0"/>
              </a:rPr>
              <a:pPr eaLnBrk="1" hangingPunct="1"/>
              <a:t>‹#›</a:t>
            </a:fld>
            <a:endParaRPr lang="ru-RU" altLang="ru-RU" sz="1000">
              <a:solidFill>
                <a:srgbClr val="181818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2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10" name="Рисунок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8388" y="6208713"/>
            <a:ext cx="20351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2206"/>
          <a:stretch>
            <a:fillRect/>
          </a:stretch>
        </p:blipFill>
        <p:spPr bwMode="auto">
          <a:xfrm>
            <a:off x="10952163" y="6203950"/>
            <a:ext cx="90487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38097"/>
            <a:ext cx="11519999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62390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003496339"/>
              </p:ext>
            </p:ext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p:oleObj spid="_x0000_s37896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563852" y="1268760"/>
            <a:ext cx="11290581" cy="4680520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3856" y="260652"/>
            <a:ext cx="10174923" cy="5760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4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770428" y="-689236"/>
            <a:ext cx="45719" cy="36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1759639" y="-719941"/>
            <a:ext cx="67290" cy="36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3913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8" y="4406901"/>
            <a:ext cx="10363199" cy="136207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8" y="2906714"/>
            <a:ext cx="10363199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34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460BE020-E3D2-4B40-A05B-7CD782450F67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D2BAD091-9B88-4E15-8364-95918717355E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95438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98553712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38920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129444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73460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38817" y="457200"/>
            <a:ext cx="103632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F3FF8-CCB4-4A6A-B6F5-BEAC636D052B}" type="datetimeFigureOut">
              <a:rPr lang="ru-RU"/>
              <a:pPr>
                <a:defRPr/>
              </a:pPr>
              <a:t>29.04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4996E9-B354-4426-B192-6DD90F5370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6266217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40968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73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77625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132411325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41992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822539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20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7CB9-66EA-48D7-824F-3A78AA191542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511178" y="3645934"/>
            <a:ext cx="4077301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азвание 1"/>
          <p:cNvSpPr txBox="1">
            <a:spLocks/>
          </p:cNvSpPr>
          <p:nvPr userDrawn="1"/>
        </p:nvSpPr>
        <p:spPr>
          <a:xfrm>
            <a:off x="190183" y="3301524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1" name="Название 1"/>
          <p:cNvSpPr txBox="1">
            <a:spLocks/>
          </p:cNvSpPr>
          <p:nvPr userDrawn="1"/>
        </p:nvSpPr>
        <p:spPr>
          <a:xfrm>
            <a:off x="251431" y="1455966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511179" y="1919553"/>
            <a:ext cx="4077301" cy="765984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5230458" y="3623803"/>
            <a:ext cx="3336894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4909466" y="3279397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4970714" y="1433839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5230458" y="1919551"/>
            <a:ext cx="6780310" cy="765985"/>
          </a:xfrm>
          <a:solidFill>
            <a:srgbClr val="E9E3E1"/>
          </a:solidFill>
        </p:spPr>
        <p:txBody>
          <a:bodyPr/>
          <a:lstStyle>
            <a:lvl3pPr marL="914400" indent="0">
              <a:buNone/>
              <a:defRPr/>
            </a:lvl3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8673874" y="3605056"/>
            <a:ext cx="3336894" cy="2076450"/>
          </a:xfrm>
          <a:solidFill>
            <a:srgbClr val="D2DA7A"/>
          </a:solidFill>
        </p:spPr>
        <p:txBody>
          <a:bodyPr/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Нашивка 13"/>
          <p:cNvSpPr/>
          <p:nvPr userDrawn="1"/>
        </p:nvSpPr>
        <p:spPr>
          <a:xfrm rot="5400000">
            <a:off x="22098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7124502" y="2605770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1" name="Нашивка 13"/>
          <p:cNvSpPr/>
          <p:nvPr userDrawn="1"/>
        </p:nvSpPr>
        <p:spPr>
          <a:xfrm rot="5400000">
            <a:off x="9982200" y="2602918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121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396317282"/>
              </p:ext>
            </p:extLst>
          </p:nvPr>
        </p:nvGraphicFramePr>
        <p:xfrm>
          <a:off x="1593" y="1590"/>
          <a:ext cx="1588" cy="1588"/>
        </p:xfrm>
        <a:graphic>
          <a:graphicData uri="http://schemas.openxmlformats.org/presentationml/2006/ole">
            <p:oleObj spid="_x0000_s43016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81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8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3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3" y="452132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2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xmlns="" val="335619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4" y="215865"/>
            <a:ext cx="11684161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207160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045610617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4404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746107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1914441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/>
          </p:nvPr>
        </p:nvGraphicFramePr>
        <p:xfrm>
          <a:off x="1592" y="1588"/>
          <a:ext cx="3175" cy="1587"/>
        </p:xfrm>
        <a:graphic>
          <a:graphicData uri="http://schemas.openxmlformats.org/presentationml/2006/ole">
            <p:oleObj spid="_x0000_s45064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0039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724028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1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44946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4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257920725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p:oleObj spid="_x0000_s46088" name="think-cell Slide" r:id="rId5" imgW="360" imgH="360" progId="">
              <p:embed/>
            </p:oleObj>
          </a:graphicData>
        </a:graphic>
      </p:graphicFrame>
      <p:sp>
        <p:nvSpPr>
          <p:cNvPr id="5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36552" y="6688142"/>
            <a:ext cx="479901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en-US" sz="800">
                <a:solidFill>
                  <a:srgbClr val="FFFFFF"/>
                </a:solidFill>
              </a:rPr>
              <a:t>© </a:t>
            </a:r>
            <a:r>
              <a:rPr lang="ru-RU" sz="80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5924551" y="6508756"/>
            <a:ext cx="3385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493EF0BC-4C10-4B20-B516-189F4966F4FF}" type="slidenum">
              <a:rPr lang="ru-RU" altLang="ru-RU" sz="1000" b="1">
                <a:solidFill>
                  <a:srgbClr val="2F2F2F"/>
                </a:solidFill>
                <a:latin typeface="Calibri" panose="020F0502020204030204" pitchFamily="34" charset="0"/>
              </a:rPr>
              <a:pPr eaLnBrk="1" hangingPunct="1"/>
              <a:t>‹#›</a:t>
            </a:fld>
            <a:endParaRPr lang="ru-RU" altLang="ru-RU" sz="1000">
              <a:solidFill>
                <a:srgbClr val="181818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2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10" name="Рисунок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8388" y="6208713"/>
            <a:ext cx="20351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2206"/>
          <a:stretch>
            <a:fillRect/>
          </a:stretch>
        </p:blipFill>
        <p:spPr bwMode="auto">
          <a:xfrm>
            <a:off x="10952163" y="6203950"/>
            <a:ext cx="90487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38097"/>
            <a:ext cx="11519999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55626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259783882"/>
              </p:ext>
            </p:ext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p:oleObj spid="_x0000_s47112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563852" y="1268760"/>
            <a:ext cx="11290581" cy="4680520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3856" y="260652"/>
            <a:ext cx="10174923" cy="5760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4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770428" y="-689236"/>
            <a:ext cx="45719" cy="36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1759639" y="-719941"/>
            <a:ext cx="67290" cy="36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1055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8" y="4406901"/>
            <a:ext cx="10363199" cy="136207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8" y="2906714"/>
            <a:ext cx="10363199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34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460BE020-E3D2-4B40-A05B-7CD782450F67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D2BAD091-9B88-4E15-8364-95918717355E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41619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620304274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48136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129444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05409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9" y="1842479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20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7CB9-66EA-48D7-824F-3A78AA191542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274393" y="2873525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356768" y="1418411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2521194" y="2711971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66699" y="3359316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66699" y="3953366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6513785" y="1816734"/>
            <a:ext cx="4193629" cy="732528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Нашивка 13"/>
          <p:cNvSpPr/>
          <p:nvPr userDrawn="1"/>
        </p:nvSpPr>
        <p:spPr>
          <a:xfrm rot="5400000">
            <a:off x="8368288" y="2686226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513785" y="3333571"/>
            <a:ext cx="4193629" cy="594053"/>
          </a:xfrm>
          <a:solidFill>
            <a:srgbClr val="D2DA7A"/>
          </a:solidFill>
        </p:spPr>
        <p:txBody>
          <a:bodyPr>
            <a:noAutofit/>
          </a:bodyPr>
          <a:lstStyle>
            <a:lvl2pPr marL="457200" indent="0">
              <a:buNone/>
              <a:defRPr sz="1600"/>
            </a:lvl2pPr>
            <a:lvl3pPr marL="180000" indent="0" algn="ctr">
              <a:spcBef>
                <a:spcPts val="1200"/>
              </a:spcBef>
              <a:buNone/>
              <a:defRPr sz="1600"/>
            </a:lvl3pPr>
            <a:lvl4pPr marL="180000" indent="0" algn="ctr">
              <a:spcBef>
                <a:spcPts val="1200"/>
              </a:spcBef>
              <a:buNone/>
              <a:defRPr sz="1600"/>
            </a:lvl4pPr>
            <a:lvl5pPr marL="180000" indent="0" algn="ctr">
              <a:spcBef>
                <a:spcPts val="1200"/>
              </a:spcBef>
              <a:buNone/>
              <a:defRPr sz="1600"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6513785" y="3927621"/>
            <a:ext cx="4193629" cy="2346782"/>
          </a:xfrm>
          <a:solidFill>
            <a:srgbClr val="D2DA7A"/>
          </a:solidFill>
        </p:spPr>
        <p:txBody>
          <a:bodyPr>
            <a:normAutofit/>
          </a:bodyPr>
          <a:lstStyle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4pPr>
            <a:lvl5pPr marL="171450" indent="-171450">
              <a:lnSpc>
                <a:spcPct val="100000"/>
              </a:lnSpc>
              <a:buFont typeface="Arial" panose="020B0604020202020204" pitchFamily="34" charset="0"/>
              <a:buChar char="•"/>
              <a:defRPr sz="1200"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49925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75156651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50184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73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704511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7270828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51208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553770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61239473"/>
              </p:ext>
            </p:extLst>
          </p:nvPr>
        </p:nvGraphicFramePr>
        <p:xfrm>
          <a:off x="1593" y="1590"/>
          <a:ext cx="1588" cy="1588"/>
        </p:xfrm>
        <a:graphic>
          <a:graphicData uri="http://schemas.openxmlformats.org/presentationml/2006/ole">
            <p:oleObj spid="_x0000_s52232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81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8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3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3" y="452132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2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xmlns="" val="2862683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4" y="215865"/>
            <a:ext cx="11684161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1612524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42833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6"/>
            <a:ext cx="12192000" cy="1429173"/>
          </a:xfrm>
          <a:custGeom>
            <a:avLst/>
            <a:gdLst/>
            <a:ahLst/>
            <a:cxnLst/>
            <a:rect l="l" t="t" r="r" b="b"/>
            <a:pathLst>
              <a:path w="9144000" h="1071880">
                <a:moveTo>
                  <a:pt x="0" y="1071549"/>
                </a:moveTo>
                <a:lnTo>
                  <a:pt x="9144000" y="1071549"/>
                </a:lnTo>
                <a:lnTo>
                  <a:pt x="9144000" y="0"/>
                </a:lnTo>
                <a:lnTo>
                  <a:pt x="0" y="0"/>
                </a:lnTo>
                <a:lnTo>
                  <a:pt x="0" y="1071549"/>
                </a:lnTo>
                <a:close/>
              </a:path>
            </a:pathLst>
          </a:custGeom>
          <a:solidFill>
            <a:srgbClr val="2C3392"/>
          </a:solidFill>
        </p:spPr>
        <p:txBody>
          <a:bodyPr wrap="square" lIns="0" tIns="0" rIns="0" bIns="0" rtlCol="0"/>
          <a:lstStyle/>
          <a:p>
            <a:endParaRPr>
              <a:solidFill>
                <a:srgbClr val="181818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380965" y="6286526"/>
            <a:ext cx="2952835" cy="4710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181818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900" b="0" i="0">
                <a:solidFill>
                  <a:srgbClr val="000099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282828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5849760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/>
          </p:nvPr>
        </p:nvGraphicFramePr>
        <p:xfrm>
          <a:off x="1592" y="1588"/>
          <a:ext cx="3175" cy="1587"/>
        </p:xfrm>
        <a:graphic>
          <a:graphicData uri="http://schemas.openxmlformats.org/presentationml/2006/ole">
            <p:oleObj spid="_x0000_s54280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0039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90672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609601" y="3714757"/>
            <a:ext cx="109728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5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4"/>
            <a:ext cx="4191029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91558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4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274540158"/>
              </p:ext>
            </p:ext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p:oleObj spid="_x0000_s55304" name="think-cell Slide" r:id="rId5" imgW="360" imgH="360" progId="">
              <p:embed/>
            </p:oleObj>
          </a:graphicData>
        </a:graphic>
      </p:graphicFrame>
      <p:sp>
        <p:nvSpPr>
          <p:cNvPr id="5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24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336552" y="6688142"/>
            <a:ext cx="479901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>
              <a:defRPr/>
            </a:pPr>
            <a:r>
              <a:rPr lang="en-US" sz="800">
                <a:solidFill>
                  <a:srgbClr val="FFFFFF"/>
                </a:solidFill>
              </a:rPr>
              <a:t>© </a:t>
            </a:r>
            <a:r>
              <a:rPr lang="ru-RU" sz="80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 userDrawn="1"/>
        </p:nvSpPr>
        <p:spPr bwMode="auto">
          <a:xfrm>
            <a:off x="5924551" y="6508756"/>
            <a:ext cx="3385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493EF0BC-4C10-4B20-B516-189F4966F4FF}" type="slidenum">
              <a:rPr lang="ru-RU" altLang="ru-RU" sz="1000" b="1">
                <a:solidFill>
                  <a:srgbClr val="2F2F2F"/>
                </a:solidFill>
                <a:latin typeface="Calibri" panose="020F0502020204030204" pitchFamily="34" charset="0"/>
              </a:rPr>
              <a:pPr eaLnBrk="1" hangingPunct="1"/>
              <a:t>‹#›</a:t>
            </a:fld>
            <a:endParaRPr lang="ru-RU" altLang="ru-RU" sz="1000">
              <a:solidFill>
                <a:srgbClr val="181818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2200" b="1" dirty="0" err="1">
              <a:solidFill>
                <a:srgbClr val="FFFFFF"/>
              </a:solidFill>
              <a:sym typeface="Calibri" panose="020F0502020204030204" pitchFamily="34" charset="0"/>
            </a:endParaRPr>
          </a:p>
        </p:txBody>
      </p:sp>
      <p:pic>
        <p:nvPicPr>
          <p:cNvPr id="10" name="Рисунок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8388" y="6208713"/>
            <a:ext cx="20351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2206"/>
          <a:stretch>
            <a:fillRect/>
          </a:stretch>
        </p:blipFill>
        <p:spPr bwMode="auto">
          <a:xfrm>
            <a:off x="10952163" y="6203950"/>
            <a:ext cx="904875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38097"/>
            <a:ext cx="11519999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18552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036970779"/>
              </p:ext>
            </p:extLst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p:oleObj spid="_x0000_s56328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563852" y="1268760"/>
            <a:ext cx="11290581" cy="4680520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2D34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3856" y="260652"/>
            <a:ext cx="10174923" cy="5760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4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1770428" y="-689236"/>
            <a:ext cx="45719" cy="360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 rot="16200000">
            <a:off x="1759639" y="-719941"/>
            <a:ext cx="67290" cy="360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04804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6695" y="1842482"/>
            <a:ext cx="10223726" cy="657323"/>
          </a:xfrm>
          <a:solidFill>
            <a:srgbClr val="E9E3E1"/>
          </a:solidFill>
        </p:spPr>
        <p:txBody>
          <a:bodyPr/>
          <a:lstStyle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None/>
              <a:defRPr b="1"/>
            </a:lvl4pPr>
            <a:lvl5pPr marL="0" indent="0">
              <a:buNone/>
              <a:defRPr/>
            </a:lvl5pPr>
          </a:lstStyle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209800" y="132420"/>
            <a:ext cx="10515600" cy="740795"/>
          </a:xfrm>
        </p:spPr>
        <p:txBody>
          <a:bodyPr/>
          <a:lstStyle>
            <a:lvl1pPr>
              <a:defRPr sz="2000" b="0">
                <a:solidFill>
                  <a:srgbClr val="345DAE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C97CB9-66EA-48D7-824F-3A78AA191542}" type="datetime1">
              <a:rPr lang="ru-RU" smtClean="0"/>
              <a:pPr/>
              <a:t>29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Название 1"/>
          <p:cNvSpPr txBox="1">
            <a:spLocks/>
          </p:cNvSpPr>
          <p:nvPr userDrawn="1"/>
        </p:nvSpPr>
        <p:spPr>
          <a:xfrm>
            <a:off x="3348534" y="3104600"/>
            <a:ext cx="4579524" cy="2547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rgbClr val="7D8525"/>
                </a:solidFill>
                <a:latin typeface="Calibri" pitchFamily="34" charset="0"/>
              </a:rPr>
              <a:t>Альтернатива</a:t>
            </a:r>
          </a:p>
          <a:p>
            <a:pPr>
              <a:lnSpc>
                <a:spcPct val="80000"/>
              </a:lnSpc>
            </a:pPr>
            <a:endParaRPr lang="ru-RU" b="1" dirty="0">
              <a:solidFill>
                <a:srgbClr val="7D8525"/>
              </a:solidFill>
              <a:latin typeface="Calibri" pitchFamily="34" charset="0"/>
            </a:endParaRPr>
          </a:p>
        </p:txBody>
      </p:sp>
      <p:sp>
        <p:nvSpPr>
          <p:cNvPr id="16" name="Название 1"/>
          <p:cNvSpPr txBox="1">
            <a:spLocks/>
          </p:cNvSpPr>
          <p:nvPr userDrawn="1"/>
        </p:nvSpPr>
        <p:spPr>
          <a:xfrm>
            <a:off x="3348530" y="1485176"/>
            <a:ext cx="4612402" cy="249612"/>
          </a:xfrm>
          <a:prstGeom prst="rect">
            <a:avLst/>
          </a:prstGeom>
          <a:noFill/>
        </p:spPr>
        <p:txBody>
          <a:bodyPr vert="horz" lIns="103888" tIns="51944" rIns="103888" bIns="51944" rtlCol="0" anchor="t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1800" b="1" dirty="0" smtClean="0">
                <a:solidFill>
                  <a:srgbClr val="955E4B"/>
                </a:solidFill>
                <a:latin typeface="Calibri" pitchFamily="34" charset="0"/>
              </a:rPr>
              <a:t>Исключенные из ФПУ учебники</a:t>
            </a:r>
          </a:p>
          <a:p>
            <a:pPr algn="ctr">
              <a:lnSpc>
                <a:spcPct val="80000"/>
              </a:lnSpc>
            </a:pPr>
            <a:endParaRPr lang="ru-RU" sz="2000" b="1" dirty="0">
              <a:solidFill>
                <a:srgbClr val="955E4B"/>
              </a:solidFill>
              <a:latin typeface="Calibri" pitchFamily="34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4110111" y="3393632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Нашивка 13"/>
          <p:cNvSpPr/>
          <p:nvPr userDrawn="1"/>
        </p:nvSpPr>
        <p:spPr>
          <a:xfrm rot="5400000">
            <a:off x="5153664" y="263120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553527" y="3389852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Нашивка 13"/>
          <p:cNvSpPr/>
          <p:nvPr userDrawn="1"/>
        </p:nvSpPr>
        <p:spPr>
          <a:xfrm rot="5400000">
            <a:off x="2105244" y="2608464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3" name="Нашивка 13"/>
          <p:cNvSpPr/>
          <p:nvPr userDrawn="1"/>
        </p:nvSpPr>
        <p:spPr>
          <a:xfrm rot="5400000">
            <a:off x="8979658" y="2633719"/>
            <a:ext cx="484632" cy="484632"/>
          </a:xfrm>
          <a:prstGeom prst="chevron">
            <a:avLst/>
          </a:prstGeom>
          <a:solidFill>
            <a:srgbClr val="955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41353" y="3389852"/>
            <a:ext cx="3336894" cy="2467252"/>
          </a:xfrm>
          <a:solidFill>
            <a:srgbClr val="D2DA7A"/>
          </a:solidFill>
        </p:spPr>
        <p:txBody>
          <a:bodyPr/>
          <a:lstStyle>
            <a:lvl2pPr marL="457200" indent="0">
              <a:buNone/>
              <a:defRPr/>
            </a:lvl2pPr>
            <a:lvl3pPr marL="0" indent="0">
              <a:buNone/>
              <a:defRPr b="1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28994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8" y="4406901"/>
            <a:ext cx="10363199" cy="136207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8" y="2906714"/>
            <a:ext cx="10363199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34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460BE020-E3D2-4B40-A05B-7CD782450F67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6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D2BAD091-9B88-4E15-8364-95918717355E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303274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873170737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57352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129444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46635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445354024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61448" name="think-cell Slide" r:id="rId3" imgW="360" imgH="360" progId="">
              <p:embed/>
            </p:oleObj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00173"/>
            <a:ext cx="1152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1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68098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407714463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p:oleObj spid="_x0000_s62472" name="think-cell Slide" r:id="rId3" imgW="360" imgH="360" progId="">
              <p:embed/>
            </p:oleObj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 rot="16200000">
            <a:off x="2133001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8" y="260652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632651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911918888"/>
              </p:ext>
            </p:extLst>
          </p:nvPr>
        </p:nvGraphicFramePr>
        <p:xfrm>
          <a:off x="1593" y="1590"/>
          <a:ext cx="1588" cy="1588"/>
        </p:xfrm>
        <a:graphic>
          <a:graphicData uri="http://schemas.openxmlformats.org/presentationml/2006/ole">
            <p:oleObj spid="_x0000_s63496" name="think-cell Slide" r:id="rId3" imgW="360" imgH="360" progId="">
              <p:embed/>
            </p:oleObj>
          </a:graphicData>
        </a:graphic>
      </p:graphicFrame>
      <p:grpSp>
        <p:nvGrpSpPr>
          <p:cNvPr id="14" name="Группа 13"/>
          <p:cNvGrpSpPr/>
          <p:nvPr userDrawn="1"/>
        </p:nvGrpSpPr>
        <p:grpSpPr>
          <a:xfrm>
            <a:off x="407368" y="946350"/>
            <a:ext cx="3492200" cy="1330522"/>
            <a:chOff x="6456040" y="1582513"/>
            <a:chExt cx="2456406" cy="978759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456040" y="1582513"/>
              <a:ext cx="2448272" cy="581179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4462581" y="452130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4462578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4462583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4122703" y="452132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EB204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089532" y="452132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smtClean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983432" y="2594331"/>
            <a:ext cx="2448272" cy="335495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dirty="0" smtClean="0">
                <a:solidFill>
                  <a:srgbClr val="FFFFFF"/>
                </a:solidFill>
              </a:rPr>
              <a:t>Обложка учебника</a:t>
            </a:r>
          </a:p>
        </p:txBody>
      </p:sp>
    </p:spTree>
    <p:extLst>
      <p:ext uri="{BB962C8B-B14F-4D97-AF65-F5344CB8AC3E}">
        <p14:creationId xmlns:p14="http://schemas.microsoft.com/office/powerpoint/2010/main" xmlns="" val="1236039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A5BD0E0D-F197-4B14-B296-C27E6C00E6CA}" type="datetimeFigureOut">
              <a:rPr lang="ru-RU" smtClean="0">
                <a:solidFill>
                  <a:srgbClr val="181818"/>
                </a:solidFill>
              </a:rPr>
              <a:pPr/>
              <a:t>29.04.2021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7"/>
            <a:ext cx="2844800" cy="365125"/>
          </a:xfrm>
          <a:prstGeom prst="rect">
            <a:avLst/>
          </a:prstGeom>
        </p:spPr>
        <p:txBody>
          <a:bodyPr/>
          <a:lstStyle/>
          <a:p>
            <a:fld id="{85BC23C3-D32D-4340-A654-431DCF2B3DCF}" type="slidenum">
              <a:rPr lang="ru-RU" smtClean="0">
                <a:solidFill>
                  <a:srgbClr val="181818"/>
                </a:solidFill>
              </a:rPr>
              <a:pPr/>
              <a:t>‹#›</a:t>
            </a:fld>
            <a:endParaRPr lang="ru-RU" dirty="0">
              <a:solidFill>
                <a:srgbClr val="181818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80960" y="6143647"/>
            <a:ext cx="4191029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12192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253924" y="215865"/>
            <a:ext cx="11684161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338232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14677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64520" name="think-cell Slide" r:id="rId3" imgW="360" imgH="360" progId="">
              <p:embed/>
            </p:oleObj>
          </a:graphicData>
        </a:graphic>
      </p:graphicFrame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688289" y="6208303"/>
            <a:ext cx="2034923" cy="489452"/>
          </a:xfrm>
          <a:prstGeom prst="rect">
            <a:avLst/>
          </a:prstGeom>
        </p:spPr>
      </p:pic>
      <p:pic>
        <p:nvPicPr>
          <p:cNvPr id="5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 rotWithShape="1">
          <a:blip r:embed="rId5" cstate="print"/>
          <a:srcRect l="72206"/>
          <a:stretch/>
        </p:blipFill>
        <p:spPr bwMode="auto">
          <a:xfrm>
            <a:off x="10951373" y="6204539"/>
            <a:ext cx="905267" cy="4932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704132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162095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6"/>
            <a:ext cx="12192000" cy="1429173"/>
          </a:xfrm>
          <a:custGeom>
            <a:avLst/>
            <a:gdLst/>
            <a:ahLst/>
            <a:cxnLst/>
            <a:rect l="l" t="t" r="r" b="b"/>
            <a:pathLst>
              <a:path w="9144000" h="1071880">
                <a:moveTo>
                  <a:pt x="0" y="1071549"/>
                </a:moveTo>
                <a:lnTo>
                  <a:pt x="9144000" y="1071549"/>
                </a:lnTo>
                <a:lnTo>
                  <a:pt x="9144000" y="0"/>
                </a:lnTo>
                <a:lnTo>
                  <a:pt x="0" y="0"/>
                </a:lnTo>
                <a:lnTo>
                  <a:pt x="0" y="1071549"/>
                </a:lnTo>
                <a:close/>
              </a:path>
            </a:pathLst>
          </a:custGeom>
          <a:solidFill>
            <a:srgbClr val="2C3392"/>
          </a:solidFill>
        </p:spPr>
        <p:txBody>
          <a:bodyPr wrap="square" lIns="0" tIns="0" rIns="0" bIns="0" rtlCol="0"/>
          <a:lstStyle/>
          <a:p>
            <a:endParaRPr>
              <a:solidFill>
                <a:srgbClr val="181818"/>
              </a:solidFill>
            </a:endParaRPr>
          </a:p>
        </p:txBody>
      </p:sp>
      <p:sp>
        <p:nvSpPr>
          <p:cNvPr id="17" name="bk object 17"/>
          <p:cNvSpPr/>
          <p:nvPr/>
        </p:nvSpPr>
        <p:spPr>
          <a:xfrm>
            <a:off x="380965" y="6286526"/>
            <a:ext cx="2952835" cy="47101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solidFill>
                <a:srgbClr val="181818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900" b="0" i="0">
                <a:solidFill>
                  <a:srgbClr val="000099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282828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599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181818">
                    <a:tint val="75000"/>
                  </a:srgbClr>
                </a:solidFill>
              </a:rPr>
              <a:pPr/>
              <a:t>4/29/2021</a:t>
            </a:fld>
            <a:endParaRPr lang="en-US">
              <a:solidFill>
                <a:srgbClr val="181818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3" y="6377941"/>
            <a:ext cx="2804161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181818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18181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5257882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024" hidden="1"/>
          <p:cNvGraphicFramePr>
            <a:graphicFrameLocks noChangeAspect="1"/>
          </p:cNvGraphicFramePr>
          <p:nvPr>
            <p:extLst/>
          </p:nvPr>
        </p:nvGraphicFramePr>
        <p:xfrm>
          <a:off x="1592" y="1588"/>
          <a:ext cx="3175" cy="1587"/>
        </p:xfrm>
        <a:graphic>
          <a:graphicData uri="http://schemas.openxmlformats.org/presentationml/2006/ole">
            <p:oleObj spid="_x0000_s65544" name="think-cell Slide" r:id="rId3" imgW="360" imgH="360" progId="">
              <p:embed/>
            </p:oleObj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7" y="100393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42219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vmlDrawing" Target="../drawings/vmlDrawing10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6" Type="http://schemas.openxmlformats.org/officeDocument/2006/relationships/oleObject" Target="../embeddings/oleObject18.bin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vmlDrawing" Target="../drawings/vmlDrawing18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vmlDrawing" Target="../drawings/vmlDrawing27.v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oleObject" Target="../embeddings/oleObject27.bin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ags" Target="../tags/tag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6" Type="http://schemas.openxmlformats.org/officeDocument/2006/relationships/oleObject" Target="../embeddings/oleObject35.bin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vmlDrawing" Target="../drawings/vmlDrawing35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6" Type="http://schemas.openxmlformats.org/officeDocument/2006/relationships/oleObject" Target="../embeddings/oleObject44.bin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vmlDrawing" Target="../drawings/vmlDrawing44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oleObject" Target="../embeddings/oleObject52.bin"/><Relationship Id="rId2" Type="http://schemas.openxmlformats.org/officeDocument/2006/relationships/slideLayout" Target="../slideLayouts/slideLayout93.xml"/><Relationship Id="rId16" Type="http://schemas.openxmlformats.org/officeDocument/2006/relationships/tags" Target="../tags/tag17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vmlDrawing" Target="../drawings/vmlDrawing52.v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image" Target="../media/image1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09800" y="132420"/>
            <a:ext cx="10515600" cy="8174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5400" spc="-40" dirty="0" smtClean="0">
                <a:solidFill>
                  <a:srgbClr val="294790"/>
                </a:solidFill>
                <a:cs typeface="Arial" pitchFamily="34" charset="0"/>
              </a:rPr>
              <a:t>ОБРАЗЕЦ ЗАГОЛОВКА</a:t>
            </a:r>
            <a:endParaRPr lang="ru-RU" sz="4400" spc="-40" dirty="0">
              <a:solidFill>
                <a:srgbClr val="294790"/>
              </a:solidFill>
              <a:cs typeface="Arial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3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0521AA2D-0A3F-40EE-83D9-2939D34AA38F}" type="datetime1">
              <a:rPr lang="ru-RU" smtClean="0"/>
              <a:pPr/>
              <a:t>29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337776" y="891636"/>
            <a:ext cx="11568478" cy="0"/>
          </a:xfrm>
          <a:prstGeom prst="line">
            <a:avLst/>
          </a:prstGeom>
          <a:ln w="19050"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 userDrawn="1"/>
        </p:nvSpPr>
        <p:spPr>
          <a:xfrm>
            <a:off x="337776" y="3"/>
            <a:ext cx="1833928" cy="891636"/>
          </a:xfrm>
          <a:prstGeom prst="rect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2" descr="C:\Users\akladova\Desktop\logo_prosveschenie-01.png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0840" y="229525"/>
            <a:ext cx="1447800" cy="596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3" r:id="rId3"/>
    <p:sldLayoutId id="2147483664" r:id="rId4"/>
    <p:sldLayoutId id="2147483667" r:id="rId5"/>
    <p:sldLayoutId id="2147483665" r:id="rId6"/>
    <p:sldLayoutId id="2147483661" r:id="rId7"/>
    <p:sldLayoutId id="2147483662" r:id="rId8"/>
    <p:sldLayoutId id="2147483666" r:id="rId9"/>
    <p:sldLayoutId id="2147483651" r:id="rId10"/>
    <p:sldLayoutId id="2147483652" r:id="rId11"/>
    <p:sldLayoutId id="2147483653" r:id="rId12"/>
    <p:sldLayoutId id="2147483654" r:id="rId13"/>
    <p:sldLayoutId id="2147483655" r:id="rId14"/>
    <p:sldLayoutId id="2147483656" r:id="rId15"/>
    <p:sldLayoutId id="2147483657" r:id="rId16"/>
    <p:sldLayoutId id="2147483658" r:id="rId17"/>
    <p:sldLayoutId id="2147483659" r:id="rId18"/>
    <p:sldLayoutId id="2147483794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kern="1200">
          <a:solidFill>
            <a:srgbClr val="955E4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rgbClr val="955E4B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1" kern="1200">
          <a:solidFill>
            <a:srgbClr val="955E4B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955E4B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955E4B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82296620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p:oleObj spid="_x0000_s3080" name="think-cell Slide" r:id="rId17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16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4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6000" y="6688502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501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925156" y="6509476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1623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457827868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p:oleObj spid="_x0000_s12296" name="think-cell Slide" r:id="rId16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1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4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6000" y="6688502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501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925156" y="6509476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7220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5" r:id="rId10"/>
    <p:sldLayoutId id="2147483696" r:id="rId11"/>
    <p:sldLayoutId id="2147483697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4288396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p:oleObj spid="_x0000_s21512" name="think-cell Slide" r:id="rId16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1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4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6000" y="6688502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501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925156" y="6509476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4534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681017479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p:oleObj spid="_x0000_s30728" name="think-cell Slide" r:id="rId15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14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4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6000" y="6688502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501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925156" y="6509476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08143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96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15081814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p:oleObj spid="_x0000_s39944" name="think-cell Slide" r:id="rId16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1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4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6000" y="6688502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501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925156" y="6509476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0149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40975135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p:oleObj spid="_x0000_s49160" name="think-cell Slide" r:id="rId16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1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4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6000" y="6688502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501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925156" y="6509476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4900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16077385"/>
              </p:ext>
            </p:extLst>
          </p:nvPr>
        </p:nvGraphicFramePr>
        <p:xfrm>
          <a:off x="6" y="0"/>
          <a:ext cx="211667" cy="158750"/>
        </p:xfrm>
        <a:graphic>
          <a:graphicData uri="http://schemas.openxmlformats.org/presentationml/2006/ole">
            <p:oleObj spid="_x0000_s60424" name="think-cell Slide" r:id="rId17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16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4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6000" y="6688502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501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925156" y="6509476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lang="ru-RU" sz="1000" b="1" smtClean="0">
                <a:solidFill>
                  <a:srgbClr val="181818">
                    <a:lumMod val="90000"/>
                    <a:lumOff val="10000"/>
                  </a:srgbClr>
                </a:solidFill>
              </a:rPr>
              <a:pPr/>
              <a:t>‹#›</a:t>
            </a:fld>
            <a:endParaRPr lang="ru-RU" sz="1000" dirty="0">
              <a:solidFill>
                <a:srgbClr val="1818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0037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005CAB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alphaModFix amt="2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4641"/>
            <a:ext cx="10972800" cy="1143000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2" y="1600203"/>
            <a:ext cx="10972800" cy="4525963"/>
          </a:xfrm>
          <a:prstGeom prst="rect">
            <a:avLst/>
          </a:prstGeom>
        </p:spPr>
        <p:txBody>
          <a:bodyPr vert="horz" lIns="104257" tIns="52128" rIns="104257" bIns="52128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49"/>
            <a:ext cx="2844800" cy="365126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569"/>
            <a:fld id="{460BE020-E3D2-4B40-A05B-7CD782450F67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569"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2" y="6356349"/>
            <a:ext cx="3860800" cy="365126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569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2" y="6356349"/>
            <a:ext cx="2844800" cy="365126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569"/>
            <a:fld id="{D2BAD091-9B88-4E15-8364-95918717355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569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46041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</p:sldLayoutIdLst>
  <p:txStyles>
    <p:titleStyle>
      <a:lvl1pPr algn="ctr" defTabSz="1042569" rtl="0" eaLnBrk="1" latinLnBrk="0" hangingPunct="1">
        <a:spcBef>
          <a:spcPct val="0"/>
        </a:spcBef>
        <a:buNone/>
        <a:defRPr sz="5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0964" indent="-390964" algn="l" defTabSz="1042569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087" indent="-325803" algn="l" defTabSz="1042569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211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494" indent="-260643" algn="l" defTabSz="1042569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5779" indent="-260643" algn="l" defTabSz="1042569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063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349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633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0917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84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569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853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137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422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706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990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275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math6-vpr.sdamgia.ru/problem?id=320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61.v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fioco.ru/Contents/Item/Display/2201978" TargetMode="Externa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000356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04" y="16637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1216644"/>
            <a:ext cx="12192000" cy="2551227"/>
          </a:xfrm>
        </p:spPr>
        <p:txBody>
          <a:bodyPr anchor="ctr" anchorCtr="0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4000" b="1" dirty="0" smtClean="0">
                <a:solidFill>
                  <a:srgbClr val="002060"/>
                </a:solidFill>
              </a:rPr>
              <a:t/>
            </a:r>
            <a:br>
              <a:rPr lang="ru-RU" sz="4000" b="1" dirty="0" smtClean="0">
                <a:solidFill>
                  <a:srgbClr val="002060"/>
                </a:solidFill>
              </a:rPr>
            </a:br>
            <a:r>
              <a:rPr lang="ru-RU" sz="4000" b="1" dirty="0" smtClean="0">
                <a:solidFill>
                  <a:srgbClr val="002060"/>
                </a:solidFill>
              </a:rPr>
              <a:t> </a:t>
            </a:r>
            <a:r>
              <a:rPr lang="ru-RU" sz="4000" b="1" dirty="0">
                <a:solidFill>
                  <a:srgbClr val="002060"/>
                </a:solidFill>
              </a:rPr>
              <a:t/>
            </a:r>
            <a:br>
              <a:rPr lang="ru-RU" sz="4000" b="1" dirty="0">
                <a:solidFill>
                  <a:srgbClr val="002060"/>
                </a:solidFill>
              </a:rPr>
            </a:br>
            <a:r>
              <a:rPr lang="ru-RU" sz="4000" b="1" dirty="0" smtClean="0">
                <a:solidFill>
                  <a:srgbClr val="002060"/>
                </a:solidFill>
              </a:rPr>
              <a:t>Обучение математической грамотности</a:t>
            </a:r>
            <a:endParaRPr lang="ru-RU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 descr="li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10800000">
            <a:off x="0" y="6787868"/>
            <a:ext cx="12192000" cy="70136"/>
          </a:xfrm>
          <a:prstGeom prst="rect">
            <a:avLst/>
          </a:prstGeom>
        </p:spPr>
      </p:pic>
      <p:sp>
        <p:nvSpPr>
          <p:cNvPr id="10" name="Freeform 7"/>
          <p:cNvSpPr>
            <a:spLocks/>
          </p:cNvSpPr>
          <p:nvPr/>
        </p:nvSpPr>
        <p:spPr bwMode="auto">
          <a:xfrm>
            <a:off x="11029361" y="546724"/>
            <a:ext cx="576131" cy="33206"/>
          </a:xfrm>
          <a:custGeom>
            <a:avLst/>
            <a:gdLst/>
            <a:ahLst/>
            <a:cxnLst>
              <a:cxn ang="0">
                <a:pos x="1510" y="0"/>
              </a:cxn>
              <a:cxn ang="0">
                <a:pos x="9" y="0"/>
              </a:cxn>
              <a:cxn ang="0">
                <a:pos x="0" y="84"/>
              </a:cxn>
              <a:cxn ang="0">
                <a:pos x="1510" y="84"/>
              </a:cxn>
              <a:cxn ang="0">
                <a:pos x="1510" y="0"/>
              </a:cxn>
            </a:cxnLst>
            <a:rect l="0" t="0" r="r" b="b"/>
            <a:pathLst>
              <a:path w="1510" h="84">
                <a:moveTo>
                  <a:pt x="1510" y="0"/>
                </a:moveTo>
                <a:lnTo>
                  <a:pt x="9" y="0"/>
                </a:lnTo>
                <a:lnTo>
                  <a:pt x="0" y="84"/>
                </a:lnTo>
                <a:lnTo>
                  <a:pt x="1510" y="84"/>
                </a:lnTo>
                <a:lnTo>
                  <a:pt x="1510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87" name="Группа 86"/>
          <p:cNvGrpSpPr/>
          <p:nvPr/>
        </p:nvGrpSpPr>
        <p:grpSpPr>
          <a:xfrm>
            <a:off x="0" y="548203"/>
            <a:ext cx="9888209" cy="33206"/>
            <a:chOff x="0" y="548203"/>
            <a:chExt cx="9888209" cy="33206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5361108" y="548203"/>
              <a:ext cx="4527101" cy="33206"/>
              <a:chOff x="5361108" y="546724"/>
              <a:chExt cx="4527101" cy="33206"/>
            </a:xfrm>
          </p:grpSpPr>
          <p:grpSp>
            <p:nvGrpSpPr>
              <p:cNvPr id="48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49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57" name="Группа 56"/>
            <p:cNvGrpSpPr/>
            <p:nvPr/>
          </p:nvGrpSpPr>
          <p:grpSpPr>
            <a:xfrm>
              <a:off x="1048040" y="548203"/>
              <a:ext cx="4527101" cy="33206"/>
              <a:chOff x="5361108" y="546724"/>
              <a:chExt cx="4527101" cy="33206"/>
            </a:xfrm>
          </p:grpSpPr>
          <p:grpSp>
            <p:nvGrpSpPr>
              <p:cNvPr id="58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6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7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59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72" name="Группа 71"/>
            <p:cNvGrpSpPr/>
            <p:nvPr/>
          </p:nvGrpSpPr>
          <p:grpSpPr>
            <a:xfrm>
              <a:off x="0" y="548203"/>
              <a:ext cx="4527101" cy="33206"/>
              <a:chOff x="5361108" y="546724"/>
              <a:chExt cx="4527101" cy="33206"/>
            </a:xfrm>
          </p:grpSpPr>
          <p:grpSp>
            <p:nvGrpSpPr>
              <p:cNvPr id="73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81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85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6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82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83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4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74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75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9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80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76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7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8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xmlns="" val="275607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2531165" y="-26988"/>
            <a:ext cx="7544168" cy="684213"/>
          </a:xfrm>
        </p:spPr>
        <p:txBody>
          <a:bodyPr/>
          <a:lstStyle/>
          <a:p>
            <a:r>
              <a:rPr lang="ru-RU" sz="3200" dirty="0">
                <a:solidFill>
                  <a:schemeClr val="folHlink"/>
                </a:solidFill>
              </a:rPr>
              <a:t>Геометрия</a:t>
            </a:r>
          </a:p>
        </p:txBody>
      </p:sp>
      <p:sp>
        <p:nvSpPr>
          <p:cNvPr id="19460" name="Rectangle 4"/>
          <p:cNvSpPr>
            <a:spLocks noChangeArrowheads="1"/>
          </p:cNvSpPr>
          <p:nvPr/>
        </p:nvSpPr>
        <p:spPr bwMode="auto">
          <a:xfrm>
            <a:off x="2522323" y="906742"/>
            <a:ext cx="53672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just">
              <a:tabLst>
                <a:tab pos="1485900" algn="l"/>
              </a:tabLst>
            </a:pPr>
            <a:r>
              <a:rPr lang="ru-RU"/>
              <a:t>1) Какая из этих фигур имеет наибольшую площадь?</a:t>
            </a:r>
          </a:p>
        </p:txBody>
      </p:sp>
      <p:pic>
        <p:nvPicPr>
          <p:cNvPr id="19461" name="Picture 5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14918" y="1341439"/>
            <a:ext cx="3083983" cy="302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2" name="Rectangle 6"/>
          <p:cNvSpPr>
            <a:spLocks noChangeArrowheads="1"/>
          </p:cNvSpPr>
          <p:nvPr/>
        </p:nvSpPr>
        <p:spPr bwMode="auto">
          <a:xfrm>
            <a:off x="4446152" y="1698903"/>
            <a:ext cx="55772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just">
              <a:tabLst>
                <a:tab pos="1485900" algn="l"/>
              </a:tabLst>
            </a:pPr>
            <a:r>
              <a:rPr lang="ru-RU"/>
              <a:t>2) Длина автомобиля 3,5 метра. Какова длина здания?</a:t>
            </a:r>
          </a:p>
        </p:txBody>
      </p:sp>
      <p:pic>
        <p:nvPicPr>
          <p:cNvPr id="19463" name="Picture 7"/>
          <p:cNvPicPr>
            <a:picLocks noChangeAspect="1" noChangeArrowheads="1"/>
          </p:cNvPicPr>
          <p:nvPr/>
        </p:nvPicPr>
        <p:blipFill>
          <a:blip r:embed="rId3" cstate="email">
            <a:lum contrast="-12000"/>
          </a:blip>
          <a:srcRect/>
          <a:stretch>
            <a:fillRect/>
          </a:stretch>
        </p:blipFill>
        <p:spPr bwMode="auto">
          <a:xfrm>
            <a:off x="4078817" y="2133601"/>
            <a:ext cx="7298267" cy="195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5" name="Rectangle 9"/>
          <p:cNvSpPr>
            <a:spLocks noChangeArrowheads="1"/>
          </p:cNvSpPr>
          <p:nvPr/>
        </p:nvSpPr>
        <p:spPr bwMode="auto">
          <a:xfrm>
            <a:off x="912284" y="4357236"/>
            <a:ext cx="9889067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bIns="0" anchor="ctr">
            <a:spAutoFit/>
          </a:bodyPr>
          <a:lstStyle/>
          <a:p>
            <a:pPr algn="just"/>
            <a:r>
              <a:rPr lang="ru-RU">
                <a:cs typeface="Times New Roman" pitchFamily="18" charset="0"/>
              </a:rPr>
              <a:t>3) На рисунке изображена лестница с 14 ступеньками, высота которой 252 см.</a:t>
            </a:r>
            <a:endParaRPr lang="ru-RU"/>
          </a:p>
        </p:txBody>
      </p:sp>
      <p:pic>
        <p:nvPicPr>
          <p:cNvPr id="19464" name="Picture 8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407834" y="4757530"/>
            <a:ext cx="5575300" cy="1281321"/>
          </a:xfrm>
          <a:prstGeom prst="rect">
            <a:avLst/>
          </a:prstGeom>
          <a:noFill/>
        </p:spPr>
      </p:pic>
      <p:sp>
        <p:nvSpPr>
          <p:cNvPr id="19466" name="Rectangle 10"/>
          <p:cNvSpPr>
            <a:spLocks noChangeArrowheads="1"/>
          </p:cNvSpPr>
          <p:nvPr/>
        </p:nvSpPr>
        <p:spPr bwMode="auto">
          <a:xfrm>
            <a:off x="3503084" y="6307417"/>
            <a:ext cx="48542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r>
              <a:rPr lang="ru-RU">
                <a:cs typeface="Times New Roman" pitchFamily="18" charset="0"/>
              </a:rPr>
              <a:t>Какова высота каждой из 14 ступенек?	</a:t>
            </a:r>
            <a:r>
              <a:rPr lang="ru-RU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838201" y="1152939"/>
            <a:ext cx="10515600" cy="5024024"/>
          </a:xfrm>
        </p:spPr>
        <p:txBody>
          <a:bodyPr/>
          <a:lstStyle/>
          <a:p>
            <a:pPr lvl="0">
              <a:buNone/>
            </a:pPr>
            <a:r>
              <a:rPr lang="ru-RU" sz="2400" b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 рисунке изображены скелеты человека и собаки. Известно, что высота скелета человека 1,8 м. Определите примерную высоту скелета собаки в метрах (с точностью до десятых).</a:t>
            </a:r>
          </a:p>
          <a:p>
            <a:pPr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/>
          </a:p>
        </p:txBody>
      </p:sp>
      <p:sp>
        <p:nvSpPr>
          <p:cNvPr id="164865" name="Rectangle 1"/>
          <p:cNvSpPr>
            <a:spLocks noChangeArrowheads="1"/>
          </p:cNvSpPr>
          <p:nvPr/>
        </p:nvSpPr>
        <p:spPr bwMode="auto">
          <a:xfrm>
            <a:off x="4561926" y="-1000261"/>
            <a:ext cx="3068148" cy="2000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38088" rIns="0" bIns="38088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19050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9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cs typeface="Arial" pitchFamily="34" charset="0"/>
              </a:rPr>
              <a:t>№ </a:t>
            </a:r>
            <a:r>
              <a:rPr kumimoji="0" lang="ru-RU" sz="900" b="1" i="0" u="none" strike="noStrike" cap="none" normalizeH="0" baseline="0" dirty="0" smtClean="0">
                <a:ln>
                  <a:noFill/>
                </a:ln>
                <a:solidFill>
                  <a:srgbClr val="090949"/>
                </a:solidFill>
                <a:effectLst/>
                <a:latin typeface="Verdana" pitchFamily="34" charset="0"/>
                <a:cs typeface="Arial" pitchFamily="34" charset="0"/>
                <a:hlinkClick r:id="rId2"/>
              </a:rPr>
              <a:t>320</a:t>
            </a: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19050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Times New Roman" pitchFamily="18" charset="0"/>
              </a:rPr>
              <a:t>  </a:t>
            </a:r>
            <a:r>
              <a:rPr kumimoji="0" lang="ru-RU" sz="1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Times New Roman" pitchFamily="18" charset="0"/>
              </a:rPr>
              <a:t> </a:t>
            </a: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Times New Roman" pitchFamily="18" charset="0"/>
              </a:rPr>
              <a:t>                                                                     </a:t>
            </a:r>
          </a:p>
        </p:txBody>
      </p:sp>
      <p:pic>
        <p:nvPicPr>
          <p:cNvPr id="164866" name="Picture 2" descr="https://math6-vpr.sdamgia.ru/get_file?id=3190&amp;png=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70782" y="2137754"/>
            <a:ext cx="5806661" cy="434939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8077200" y="6492879"/>
            <a:ext cx="4114800" cy="365125"/>
          </a:xfrm>
        </p:spPr>
        <p:txBody>
          <a:bodyPr/>
          <a:lstStyle/>
          <a:p>
            <a:r>
              <a:rPr lang="ru-RU" dirty="0" smtClean="0"/>
              <a:t>© АО «Издательство «Просвещение», 2019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181100" y="122777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" y="903894"/>
            <a:ext cx="6486525" cy="57550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591305" y="935982"/>
            <a:ext cx="56007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1: ПРОДАЖА МУЗЫКАЛЬНЫХ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ИСКОВ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кольк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мпакт-дисков музыкальная группа «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Металлист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» продала в апреле?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180975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   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 500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      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C1000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270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67504" y="2904244"/>
            <a:ext cx="538162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ЦЕЛЬ ВОПРОС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писание: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Читать столбчатую диаграмму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бласть математического содержания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еопределённость и данные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нтекст: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Общественный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знавательная деятельность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667502" y="5180717"/>
            <a:ext cx="53816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вет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 500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7874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8077200" y="6492879"/>
            <a:ext cx="4114800" cy="365125"/>
          </a:xfrm>
        </p:spPr>
        <p:txBody>
          <a:bodyPr/>
          <a:lstStyle/>
          <a:p>
            <a:r>
              <a:rPr lang="ru-RU" dirty="0" smtClean="0"/>
              <a:t>© АО «Издательство «Просвещение», 2019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181100" y="122777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" y="903894"/>
            <a:ext cx="6486525" cy="57550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6591305" y="935982"/>
            <a:ext cx="56007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: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ОДАЖА МУЗЫКАЛЬНЫХ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ИСКОВ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каком месяце музыкальная группа «Ночные птицы» в первый раз продала больше своих компакт-дисков, чем музыкальная группа «Кенгуру»?</a:t>
            </a:r>
          </a:p>
          <a:p>
            <a:pPr indent="89535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A Не было такого месяца</a:t>
            </a:r>
          </a:p>
          <a:p>
            <a:pPr indent="89535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B Март</a:t>
            </a:r>
          </a:p>
          <a:p>
            <a:pPr indent="89535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C Апрель</a:t>
            </a:r>
          </a:p>
          <a:p>
            <a:pPr indent="89535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D Май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667504" y="3521305"/>
            <a:ext cx="538162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ЦЕЛЬ ВОПРОС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писание: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Прочитать столбчатую диаграмму и сравнить высоту двух столбцов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бласть математического содержания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еопределённость и данные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нтекст: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Общественный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знавательная деятельность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700842" y="6047491"/>
            <a:ext cx="53816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вет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C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прель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2393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" y="903894"/>
            <a:ext cx="6486525" cy="57550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4" y="6492879"/>
            <a:ext cx="4114800" cy="365125"/>
          </a:xfrm>
        </p:spPr>
        <p:txBody>
          <a:bodyPr/>
          <a:lstStyle/>
          <a:p>
            <a:r>
              <a:rPr lang="ru-RU" dirty="0" smtClean="0"/>
              <a:t>© АО «Издательство «Просвещение», 2019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181100" y="122777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591305" y="935982"/>
            <a:ext cx="560070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опрос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: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ОДАЖА МУЗЫКАЛЬНЫХ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ИСКОВ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енеджер группы «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Кенгуру»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беспокоен тем, что количество проданных компакт-дисков уменьшилось с февраля по июнь. 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аков прогноз объёма продаж в июле, если продолжится такая же отрицательная тенденция? 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7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мпакт-дисков 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 37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мпакт-дисков 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 67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мпакт-дисков 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 134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мпакт-дисков</a:t>
            </a:r>
            <a:r>
              <a:rPr lang="ru-RU" dirty="0"/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486526" y="3770854"/>
            <a:ext cx="570547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ЦЕЛЬ ВОПРОС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писание: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нтерпретировать столбчатую диаграмму и подсчитать число компакт-дисков, проданных в будущем, полагая, что сохранится линейная тенденция.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бласть математического содержания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еопределённость и данные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нтекст: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Общественный 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знавательная деятельность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877304" y="6489608"/>
            <a:ext cx="33147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вет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 37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мпакт-дисков </a:t>
            </a: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9049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39" name="Text Box 127"/>
          <p:cNvSpPr txBox="1">
            <a:spLocks noChangeArrowheads="1"/>
          </p:cNvSpPr>
          <p:nvPr/>
        </p:nvSpPr>
        <p:spPr bwMode="auto">
          <a:xfrm>
            <a:off x="3888317" y="5157788"/>
            <a:ext cx="422486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/>
          </a:p>
        </p:txBody>
      </p:sp>
      <p:pic>
        <p:nvPicPr>
          <p:cNvPr id="13441" name="Picture 129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431800" y="260351"/>
            <a:ext cx="9889067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443" name="Picture 131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527052" y="2276476"/>
            <a:ext cx="9696449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444" name="Picture 132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19667" y="4076701"/>
            <a:ext cx="9889067" cy="218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4" name="Rectangle 6"/>
          <p:cNvSpPr>
            <a:spLocks noChangeArrowheads="1"/>
          </p:cNvSpPr>
          <p:nvPr/>
        </p:nvSpPr>
        <p:spPr bwMode="auto">
          <a:xfrm>
            <a:off x="431800" y="-26988"/>
            <a:ext cx="9643533" cy="68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/>
            <a:r>
              <a:rPr lang="ru-RU" sz="4000">
                <a:solidFill>
                  <a:schemeClr val="folHlink"/>
                </a:solidFill>
              </a:rPr>
              <a:t>Геометрия</a:t>
            </a:r>
          </a:p>
        </p:txBody>
      </p:sp>
      <p:sp>
        <p:nvSpPr>
          <p:cNvPr id="22535" name="Rectangle 7"/>
          <p:cNvSpPr>
            <a:spLocks noChangeArrowheads="1"/>
          </p:cNvSpPr>
          <p:nvPr/>
        </p:nvSpPr>
        <p:spPr bwMode="auto">
          <a:xfrm>
            <a:off x="1007534" y="763867"/>
            <a:ext cx="645920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r>
              <a:rPr lang="ru-RU"/>
              <a:t>Какая из фигур имеет наибольшую площадь? Ответ объясните. </a:t>
            </a:r>
          </a:p>
        </p:txBody>
      </p:sp>
      <p:pic>
        <p:nvPicPr>
          <p:cNvPr id="22536" name="Picture 8" descr="M158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2351617" y="1042988"/>
            <a:ext cx="4993216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7" name="Rectangle 9"/>
          <p:cNvSpPr>
            <a:spLocks noChangeArrowheads="1"/>
          </p:cNvSpPr>
          <p:nvPr/>
        </p:nvSpPr>
        <p:spPr bwMode="auto">
          <a:xfrm>
            <a:off x="1772059" y="2564092"/>
            <a:ext cx="265136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just"/>
            <a:r>
              <a:rPr lang="ru-RU" b="1" i="1"/>
              <a:t>ПЛОЩАДЬ КОНТИНЕНТА</a:t>
            </a:r>
          </a:p>
        </p:txBody>
      </p:sp>
      <p:pic>
        <p:nvPicPr>
          <p:cNvPr id="22538" name="Picture 10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61152" y="2420938"/>
            <a:ext cx="5099049" cy="3529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9" name="Picture 11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34433" y="3141663"/>
            <a:ext cx="6242051" cy="2303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31800" y="260351"/>
            <a:ext cx="10176933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414" name="Picture 6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27051" y="1844675"/>
            <a:ext cx="10369549" cy="475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914400" y="-1108075"/>
            <a:ext cx="9160933" cy="1600200"/>
          </a:xfrm>
        </p:spPr>
        <p:txBody>
          <a:bodyPr/>
          <a:lstStyle/>
          <a:p>
            <a:r>
              <a:rPr lang="ru-RU" sz="2000">
                <a:solidFill>
                  <a:schemeClr val="folHlink"/>
                </a:solidFill>
              </a:rPr>
              <a:t>Представление информации в различных данных</a:t>
            </a:r>
          </a:p>
        </p:txBody>
      </p:sp>
      <p:sp>
        <p:nvSpPr>
          <p:cNvPr id="23556" name="Rectangle 4"/>
          <p:cNvSpPr>
            <a:spLocks noChangeArrowheads="1"/>
          </p:cNvSpPr>
          <p:nvPr/>
        </p:nvSpPr>
        <p:spPr bwMode="auto">
          <a:xfrm>
            <a:off x="334434" y="1058971"/>
            <a:ext cx="5185833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indent="228600">
              <a:tabLst>
                <a:tab pos="1485900" algn="l"/>
              </a:tabLst>
            </a:pPr>
            <a:r>
              <a:rPr lang="ru-RU" sz="1600" b="1"/>
              <a:t>ОГРАБЛЕНИЯ</a:t>
            </a:r>
            <a:endParaRPr lang="ru-RU" sz="1600"/>
          </a:p>
          <a:p>
            <a:pPr indent="228600">
              <a:tabLst>
                <a:tab pos="1485900" algn="l"/>
              </a:tabLst>
            </a:pPr>
            <a:r>
              <a:rPr lang="ru-RU" sz="1600"/>
              <a:t>В телевизионной передаче журналист показал следующую диаграмму и сказал: «Диаграмма показывает, что по сравнению с 1998 годом в 1999 году резко возросло число ограблений».</a:t>
            </a:r>
          </a:p>
          <a:p>
            <a:pPr indent="228600">
              <a:tabLst>
                <a:tab pos="1485900" algn="l"/>
              </a:tabLst>
            </a:pPr>
            <a:r>
              <a:rPr lang="ru-RU" sz="1600"/>
              <a:t>Считаете ли вы, что журналист сделал правильный вывод на основе данной диаграммы? </a:t>
            </a:r>
          </a:p>
        </p:txBody>
      </p:sp>
      <p:pic>
        <p:nvPicPr>
          <p:cNvPr id="23557" name="Picture 5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979ECA"/>
              </a:clrFrom>
              <a:clrTo>
                <a:srgbClr val="979ECA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12885" y="549275"/>
            <a:ext cx="5471583" cy="2986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431800" y="3553144"/>
            <a:ext cx="7103533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indent="228600"/>
            <a:r>
              <a:rPr lang="ru-RU" b="1"/>
              <a:t>КУБИКИ</a:t>
            </a:r>
            <a:endParaRPr lang="ru-RU"/>
          </a:p>
          <a:p>
            <a:pPr indent="228600"/>
            <a:r>
              <a:rPr lang="ru-RU"/>
              <a:t>На фотографии видны 6 кубиков, обозначенных буквами от </a:t>
            </a:r>
            <a:r>
              <a:rPr lang="en-US"/>
              <a:t>a</a:t>
            </a:r>
            <a:r>
              <a:rPr lang="ru-RU"/>
              <a:t>  до </a:t>
            </a:r>
            <a:r>
              <a:rPr lang="en-US"/>
              <a:t>f</a:t>
            </a:r>
            <a:r>
              <a:rPr lang="ru-RU"/>
              <a:t>. Для каждого из них выполняется следующее правило: сумма точек, изображённых на двух любых противоположных гранях кубика, всегда равно семи.</a:t>
            </a:r>
          </a:p>
        </p:txBody>
      </p:sp>
      <p:pic>
        <p:nvPicPr>
          <p:cNvPr id="23559" name="Picture 7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727951" y="3644900"/>
            <a:ext cx="3266016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1" name="Rectangle 9"/>
          <p:cNvSpPr>
            <a:spLocks noChangeArrowheads="1"/>
          </p:cNvSpPr>
          <p:nvPr/>
        </p:nvSpPr>
        <p:spPr bwMode="auto">
          <a:xfrm>
            <a:off x="6671734" y="5507336"/>
            <a:ext cx="4491567" cy="9233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indent="228600"/>
            <a:r>
              <a:rPr lang="ru-RU">
                <a:cs typeface="Times New Roman" pitchFamily="18" charset="0"/>
              </a:rPr>
              <a:t>В каждой клетке таблицы запишите число точек, которые изображены на НИЖНЕЙ грани соответствующего кубика.</a:t>
            </a:r>
            <a:endParaRPr lang="ru-RU"/>
          </a:p>
        </p:txBody>
      </p:sp>
      <p:pic>
        <p:nvPicPr>
          <p:cNvPr id="23560" name="Picture 8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832100" y="5445125"/>
            <a:ext cx="2438400" cy="12192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9</a:t>
            </a:fld>
            <a:endParaRPr lang="ru-RU"/>
          </a:p>
        </p:txBody>
      </p:sp>
      <p:pic>
        <p:nvPicPr>
          <p:cNvPr id="5" name="Содержимое 4"/>
          <p:cNvPicPr>
            <a:picLocks noGrp="1"/>
          </p:cNvPicPr>
          <p:nvPr>
            <p:ph idx="1"/>
          </p:nvPr>
        </p:nvPicPr>
        <p:blipFill>
          <a:blip r:embed="rId2" cstate="print"/>
          <a:srcRect l="7857" t="40171" r="39528" b="33867"/>
          <a:stretch>
            <a:fillRect/>
          </a:stretch>
        </p:blipFill>
        <p:spPr bwMode="auto">
          <a:xfrm>
            <a:off x="516835" y="901148"/>
            <a:ext cx="11290852" cy="5194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endParaRPr lang="ru-RU" sz="3600" b="1" dirty="0" smtClean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0963" name="Содержимое 2"/>
          <p:cNvSpPr>
            <a:spLocks noGrp="1"/>
          </p:cNvSpPr>
          <p:nvPr>
            <p:ph idx="1"/>
          </p:nvPr>
        </p:nvSpPr>
        <p:spPr>
          <a:xfrm>
            <a:off x="287867" y="1428750"/>
            <a:ext cx="11904133" cy="4857750"/>
          </a:xfrm>
        </p:spPr>
        <p:txBody>
          <a:bodyPr/>
          <a:lstStyle/>
          <a:p>
            <a:pPr>
              <a:buClr>
                <a:srgbClr val="FF0066"/>
              </a:buClr>
              <a:buFont typeface="Wingdings" pitchFamily="2" charset="2"/>
              <a:buChar char="Ø"/>
              <a:defRPr/>
            </a:pPr>
            <a:r>
              <a:rPr lang="ru-RU" sz="2800" dirty="0" smtClean="0">
                <a:solidFill>
                  <a:schemeClr val="accent4">
                    <a:lumMod val="75000"/>
                  </a:schemeClr>
                </a:solidFill>
              </a:rPr>
              <a:t>Проблема формирования математической грамотности очень актуальна.</a:t>
            </a:r>
          </a:p>
          <a:p>
            <a:pPr>
              <a:buClr>
                <a:srgbClr val="FF0066"/>
              </a:buClr>
              <a:buFont typeface="Wingdings" pitchFamily="2" charset="2"/>
              <a:buChar char="Ø"/>
              <a:defRPr/>
            </a:pPr>
            <a:r>
              <a:rPr lang="ru-RU" sz="2800" dirty="0" smtClean="0">
                <a:solidFill>
                  <a:schemeClr val="accent4">
                    <a:lumMod val="75000"/>
                  </a:schemeClr>
                </a:solidFill>
              </a:rPr>
              <a:t>Изучение современных теоретических положений  и рассмотрение методических способов, форм, приемов реализации  среднего математического образования говорит о  его фрагментарности, обрывочности реализации.</a:t>
            </a:r>
          </a:p>
          <a:p>
            <a:pPr>
              <a:buClr>
                <a:srgbClr val="FF0066"/>
              </a:buClr>
              <a:buFont typeface="Wingdings" pitchFamily="2" charset="2"/>
              <a:buChar char="Ø"/>
              <a:defRPr/>
            </a:pPr>
            <a:r>
              <a:rPr lang="ru-RU" sz="2800" dirty="0" smtClean="0">
                <a:solidFill>
                  <a:schemeClr val="accent4">
                    <a:lumMod val="75000"/>
                  </a:schemeClr>
                </a:solidFill>
              </a:rPr>
              <a:t>Функциональная грамотность позволяет формировать целостное образное видение мира, избегая дробления знаний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92626" y="274638"/>
            <a:ext cx="9899374" cy="1143000"/>
          </a:xfrm>
        </p:spPr>
        <p:txBody>
          <a:bodyPr>
            <a:noAutofit/>
          </a:bodyPr>
          <a:lstStyle/>
          <a:p>
            <a:r>
              <a:rPr lang="ru-RU" sz="4800" b="1" dirty="0" smtClean="0"/>
              <a:t>Задания «А как в реальности?»</a:t>
            </a:r>
            <a:endParaRPr lang="ru-RU" sz="4800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42" name="Picture 2" descr="D:\школа Черепаново\19-20\вытупление функциональная грамотность\моя презентация\Рисунок1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0405" y="1427110"/>
            <a:ext cx="10406062" cy="1952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D:\школа Черепаново\19-20\вытупление функциональная грамотность\моя презентация\Рисунок1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0406" y="4005064"/>
            <a:ext cx="11158873" cy="1918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11701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ВЫВОДЫ</a:t>
            </a:r>
            <a:endParaRPr lang="ru-RU" b="1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838201" y="993913"/>
            <a:ext cx="10515600" cy="5183050"/>
          </a:xfrm>
        </p:spPr>
        <p:txBody>
          <a:bodyPr>
            <a:normAutofit fontScale="92500" lnSpcReduction="20000"/>
          </a:bodyPr>
          <a:lstStyle/>
          <a:p>
            <a:r>
              <a:rPr lang="ru-RU" sz="26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годня учитель перестал быть для ученика «единственным источником информации». Вовлечь каждого ученика в процесс обучения, суметь выслушать его, сделать его своим помощником или ассистентом, посмотреть глазами самого ребёнка на беспокоящую его проблему – вот задача для современного учителя.</a:t>
            </a:r>
          </a:p>
          <a:p>
            <a:r>
              <a:rPr lang="ru-RU" sz="26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овое время потребовало от учителя освоить современные активные технологии и активно их применить на своих уроках. Современный ученик прекрасно владеет информационными технологиями, легко разбирается в технике. Поэтому нам всем нужны новые средства и подходы для обучения и развития умения размышлять, понимать, анализировать, т.е. для формирования практических навыков у учеников. Наша задача направить их знания и умения в нужном направлении, подсказать, как добыть те или иные знания, заинтересовать, добиться, чтобы их глаза зажглись интересом к познанию. «Поэтому обучающиеся должны учиться тому, как адаптировать свои знания к любой ситуации и иметь возможность решать любые сложные задачи, с которыми им возможно, придётся столкнуться в будущем».</a:t>
            </a:r>
          </a:p>
          <a:p>
            <a:endParaRPr lang="ru-RU" b="0" dirty="0" smtClean="0"/>
          </a:p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1</a:t>
            </a:fld>
            <a:endParaRPr lang="ru-RU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ru-RU" sz="36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«Красоту математики можно увидеть глазами, можно почувствовать сердцем, но объять ее можно только умом»</a:t>
            </a:r>
          </a:p>
          <a:p>
            <a:pPr algn="r">
              <a:buNone/>
            </a:pPr>
            <a:r>
              <a:rPr lang="ru-RU" sz="3600" b="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алва</a:t>
            </a:r>
            <a:r>
              <a:rPr lang="ru-RU" sz="36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Александрович </a:t>
            </a:r>
            <a:r>
              <a:rPr lang="ru-RU" sz="3600" b="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монашвили</a:t>
            </a:r>
            <a:r>
              <a:rPr lang="ru-RU" b="0" dirty="0" smtClean="0"/>
              <a:t>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2</a:t>
            </a:fld>
            <a:endParaRPr lang="ru-RU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Rectangle 2"/>
          <p:cNvSpPr>
            <a:spLocks noGrp="1" noChangeArrowheads="1"/>
          </p:cNvSpPr>
          <p:nvPr>
            <p:ph type="title"/>
          </p:nvPr>
        </p:nvSpPr>
        <p:spPr>
          <a:xfrm>
            <a:off x="2446867" y="457200"/>
            <a:ext cx="9455151" cy="1143000"/>
          </a:xfrm>
        </p:spPr>
        <p:txBody>
          <a:bodyPr/>
          <a:lstStyle/>
          <a:p>
            <a:r>
              <a:rPr lang="ru-RU" sz="4000" b="1" smtClean="0"/>
              <a:t>Особенности математики как учебного предмета</a:t>
            </a:r>
          </a:p>
        </p:txBody>
      </p:sp>
      <p:sp>
        <p:nvSpPr>
          <p:cNvPr id="2060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-241299" y="5229225"/>
            <a:ext cx="12433300" cy="1443038"/>
          </a:xfrm>
        </p:spPr>
        <p:txBody>
          <a:bodyPr/>
          <a:lstStyle/>
          <a:p>
            <a:pPr>
              <a:lnSpc>
                <a:spcPct val="80000"/>
              </a:lnSpc>
              <a:buFontTx/>
              <a:buNone/>
            </a:pPr>
            <a:r>
              <a:rPr lang="ru-RU" sz="2000" smtClean="0">
                <a:latin typeface="Bookman Old Style" pitchFamily="18" charset="0"/>
              </a:rPr>
              <a:t>      Значение математики в том, что она позволяет по единому образцу описать большое количество разнообразных по своей природе процессов, используя систему универсальных методов анализа; таким образом, появляется возможность сделать широкие обобщения и создать модели различных изучаемых процессов и приложений в различных областях знаний. </a:t>
            </a:r>
          </a:p>
        </p:txBody>
      </p:sp>
      <p:graphicFrame>
        <p:nvGraphicFramePr>
          <p:cNvPr id="2050" name="Diagram 6"/>
          <p:cNvGraphicFramePr>
            <a:graphicFrameLocks/>
          </p:cNvGraphicFramePr>
          <p:nvPr>
            <p:ph sz="half" idx="2"/>
          </p:nvPr>
        </p:nvGraphicFramePr>
        <p:xfrm>
          <a:off x="238539" y="476250"/>
          <a:ext cx="11953461" cy="6381750"/>
        </p:xfrm>
        <a:graphic>
          <a:graphicData uri="http://schemas.openxmlformats.org/drawingml/2006/compatibility">
            <com:legacyDrawing xmlns:com="http://schemas.openxmlformats.org/drawingml/2006/compatibility" spid="_x0000_s163842"/>
          </a:graphicData>
        </a:graphic>
      </p:graphicFrame>
      <p:sp>
        <p:nvSpPr>
          <p:cNvPr id="2061" name="Rectangle 15"/>
          <p:cNvSpPr>
            <a:spLocks noChangeArrowheads="1"/>
          </p:cNvSpPr>
          <p:nvPr/>
        </p:nvSpPr>
        <p:spPr bwMode="auto">
          <a:xfrm>
            <a:off x="8048631" y="3716338"/>
            <a:ext cx="215475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2400" b="1" i="1" dirty="0"/>
              <a:t>опора на </a:t>
            </a:r>
          </a:p>
          <a:p>
            <a:pPr algn="ctr"/>
            <a:r>
              <a:rPr lang="ru-RU" sz="2400" b="1" i="1" dirty="0"/>
              <a:t>абстрактное </a:t>
            </a:r>
          </a:p>
          <a:p>
            <a:pPr algn="ctr"/>
            <a:r>
              <a:rPr lang="ru-RU" sz="2400" b="1" i="1" dirty="0"/>
              <a:t>мышление</a:t>
            </a:r>
          </a:p>
        </p:txBody>
      </p:sp>
      <p:sp>
        <p:nvSpPr>
          <p:cNvPr id="2062" name="Rectangle 16"/>
          <p:cNvSpPr>
            <a:spLocks noChangeArrowheads="1"/>
          </p:cNvSpPr>
          <p:nvPr/>
        </p:nvSpPr>
        <p:spPr bwMode="auto">
          <a:xfrm>
            <a:off x="1583267" y="3429001"/>
            <a:ext cx="528108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 b="1"/>
              <a:t>специфика математического </a:t>
            </a:r>
          </a:p>
          <a:p>
            <a:pPr algn="ctr"/>
            <a:r>
              <a:rPr lang="ru-RU" sz="2400" b="1"/>
              <a:t>терминологического аппарата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42900" y="980988"/>
            <a:ext cx="1159179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Концепция направления «математическая грамотность» исследования PISA-2021</a:t>
            </a: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Исследование PISA-2021 проверит математическую грамотность российских школьников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0" name="Picture 2" descr="https://fioco.ru/Media/Default/Pictures/%D0%B4%D0%BB%D1%8F%20%D0%BD%D0%BE%D0%B2%D0%BE%D1%81%D1%82%D0%B5%D0%B9/1234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37"/>
          <a:stretch/>
        </p:blipFill>
        <p:spPr bwMode="auto">
          <a:xfrm>
            <a:off x="7035831" y="1658098"/>
            <a:ext cx="5013171" cy="5009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33379" y="1891516"/>
            <a:ext cx="672452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рамках исследования PISA-2021 будет использоваться следующее определение: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 – это способность человека мыслить математически, формулировать, применять и интерпретировать математику для решения задач в разнообразных практических контекстах. Она включает в себя понятия, процедуры и факты, а также инструменты для описания, объяснения и предсказания явлений. Она помогает людям понять роль математики в мире, высказывать хорошо обоснованные суждения и принимать решения, которые должны принимать конструктивные, активные и размышляющие граждане в 21 веке»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634383" y="6174343"/>
            <a:ext cx="531106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s://fioco.ru/Contents/Item/Display/2201978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8077200" y="6492879"/>
            <a:ext cx="4114800" cy="365125"/>
          </a:xfrm>
        </p:spPr>
        <p:txBody>
          <a:bodyPr/>
          <a:lstStyle/>
          <a:p>
            <a:r>
              <a:rPr lang="ru-RU" dirty="0" smtClean="0"/>
              <a:t>© АО «Издательство «Просвещение», 2019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2181100" y="122777"/>
            <a:ext cx="9753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0336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chemeClr val="folHlink"/>
                </a:solidFill>
              </a:rPr>
              <a:t>Сущность понятия «грамотности» определяется признаками:</a:t>
            </a:r>
            <a:br>
              <a:rPr lang="ru-RU" sz="2800" dirty="0" smtClean="0">
                <a:solidFill>
                  <a:schemeClr val="folHlink"/>
                </a:solidFill>
              </a:rPr>
            </a:br>
            <a:endParaRPr lang="ru-RU" sz="28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838201" y="1073426"/>
            <a:ext cx="10515600" cy="5103537"/>
          </a:xfrm>
        </p:spPr>
        <p:txBody>
          <a:bodyPr>
            <a:normAutofit fontScale="85000" lnSpcReduction="20000"/>
          </a:bodyPr>
          <a:lstStyle/>
          <a:p>
            <a:pPr indent="228600">
              <a:buFontTx/>
              <a:buChar char="•"/>
              <a:tabLst>
                <a:tab pos="457200" algn="l"/>
              </a:tabLst>
            </a:pPr>
            <a:r>
              <a:rPr lang="ru-RU" sz="3200" dirty="0" smtClean="0"/>
              <a:t>пониманием роли математики в реальном мире,</a:t>
            </a:r>
          </a:p>
          <a:p>
            <a:pPr indent="228600">
              <a:buFontTx/>
              <a:buChar char="•"/>
              <a:tabLst>
                <a:tab pos="457200" algn="l"/>
              </a:tabLst>
            </a:pPr>
            <a:r>
              <a:rPr lang="ru-RU" sz="3200" dirty="0" smtClean="0"/>
              <a:t>высказыванием обоснованных математических суждений,</a:t>
            </a:r>
          </a:p>
          <a:p>
            <a:pPr indent="228600">
              <a:buFontTx/>
              <a:buChar char="•"/>
              <a:tabLst>
                <a:tab pos="457200" algn="l"/>
              </a:tabLst>
            </a:pPr>
            <a:r>
              <a:rPr lang="ru-RU" sz="3200" dirty="0" smtClean="0"/>
              <a:t>использованием математики для удовлетворения потребностей человека.</a:t>
            </a:r>
          </a:p>
          <a:p>
            <a:pPr indent="228600">
              <a:buFontTx/>
              <a:buChar char="•"/>
              <a:tabLst>
                <a:tab pos="457200" algn="l"/>
              </a:tabLst>
            </a:pPr>
            <a:endParaRPr lang="ru-RU" sz="3200" dirty="0" smtClean="0"/>
          </a:p>
          <a:p>
            <a:pPr>
              <a:buFontTx/>
              <a:buNone/>
            </a:pPr>
            <a:r>
              <a:rPr lang="ru-RU" sz="3200" dirty="0" smtClean="0">
                <a:solidFill>
                  <a:schemeClr val="tx1"/>
                </a:solidFill>
              </a:rPr>
              <a:t>Математическая грамотность «состоит» из двух основных компонентов: </a:t>
            </a:r>
          </a:p>
          <a:p>
            <a:r>
              <a:rPr lang="ru-RU" sz="3200" dirty="0" smtClean="0"/>
              <a:t>- фундаментальные математические идеи:</a:t>
            </a:r>
            <a:r>
              <a:rPr lang="ru-RU" sz="3200" i="1" dirty="0" smtClean="0"/>
              <a:t>«изменение и зависимости», «пространство и форма», «неопределенность», «количественные рассуждения»</a:t>
            </a:r>
            <a:r>
              <a:rPr lang="ru-RU" sz="3200" dirty="0" smtClean="0"/>
              <a:t> .</a:t>
            </a:r>
          </a:p>
          <a:p>
            <a:r>
              <a:rPr lang="ru-RU" sz="3200" dirty="0" smtClean="0"/>
              <a:t>- математическая компетентность - </a:t>
            </a:r>
            <a:r>
              <a:rPr lang="ru-RU" sz="3200" i="1" dirty="0" smtClean="0"/>
              <a:t>это сочетание математических знаний, умений, опыта и способностей человека, обеспечивающих успешное решение различных проблем, требующих использования математики</a:t>
            </a:r>
            <a:r>
              <a:rPr lang="ru-RU" sz="3200" dirty="0" smtClean="0"/>
              <a:t>  </a:t>
            </a:r>
          </a:p>
          <a:p>
            <a:pPr indent="228600">
              <a:buFontTx/>
              <a:buChar char="•"/>
              <a:tabLst>
                <a:tab pos="457200" algn="l"/>
              </a:tabLst>
            </a:pPr>
            <a:endParaRPr lang="ru-RU" sz="320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814918" y="188914"/>
            <a:ext cx="9160933" cy="828675"/>
          </a:xfrm>
        </p:spPr>
        <p:txBody>
          <a:bodyPr/>
          <a:lstStyle/>
          <a:p>
            <a:endParaRPr lang="ru-RU" b="1" dirty="0">
              <a:solidFill>
                <a:schemeClr val="folHlink"/>
              </a:solidFill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-143934" y="981075"/>
            <a:ext cx="12057637" cy="1455738"/>
          </a:xfrm>
        </p:spPr>
        <p:txBody>
          <a:bodyPr>
            <a:normAutofit/>
          </a:bodyPr>
          <a:lstStyle/>
          <a:p>
            <a:pPr algn="just">
              <a:lnSpc>
                <a:spcPct val="80000"/>
              </a:lnSpc>
              <a:buFontTx/>
              <a:buNone/>
            </a:pPr>
            <a:r>
              <a:rPr lang="ru-RU" sz="2400" dirty="0"/>
              <a:t>     С помощью различных образовательных технологий наряду с формированием предметных знаний и умений обеспечивать развитие у учащихся математической грамотности. В дальнейшем это умение будет способствовать успешности выпускника школы во взрослой жизни. </a:t>
            </a:r>
            <a:endParaRPr lang="ru-RU" sz="2400" b="1" dirty="0"/>
          </a:p>
        </p:txBody>
      </p:sp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334434" y="2997200"/>
            <a:ext cx="11579270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buFontTx/>
              <a:buChar char="•"/>
            </a:pPr>
            <a:r>
              <a:rPr lang="ru-RU" sz="2400" dirty="0"/>
              <a:t>научить </a:t>
            </a:r>
            <a:r>
              <a:rPr lang="ru-RU" sz="2400" dirty="0">
                <a:solidFill>
                  <a:schemeClr val="folHlink"/>
                </a:solidFill>
              </a:rPr>
              <a:t>распознавать проблемы</a:t>
            </a:r>
            <a:r>
              <a:rPr lang="ru-RU" sz="2400" dirty="0"/>
              <a:t>, возникающие в окружающей действительности, которые могут быть решены средствами математики;</a:t>
            </a:r>
          </a:p>
          <a:p>
            <a:pPr>
              <a:buFontTx/>
              <a:buChar char="•"/>
            </a:pPr>
            <a:r>
              <a:rPr lang="ru-RU" sz="2400" dirty="0"/>
              <a:t>научить </a:t>
            </a:r>
            <a:r>
              <a:rPr lang="ru-RU" sz="2400" dirty="0">
                <a:solidFill>
                  <a:schemeClr val="folHlink"/>
                </a:solidFill>
              </a:rPr>
              <a:t>формулировать эти проблемы</a:t>
            </a:r>
            <a:r>
              <a:rPr lang="ru-RU" sz="2400" dirty="0"/>
              <a:t> на языке математики;</a:t>
            </a:r>
          </a:p>
          <a:p>
            <a:pPr>
              <a:buFontTx/>
              <a:buChar char="•"/>
            </a:pPr>
            <a:r>
              <a:rPr lang="ru-RU" sz="2400" dirty="0"/>
              <a:t>научить </a:t>
            </a:r>
            <a:r>
              <a:rPr lang="ru-RU" sz="2400" dirty="0">
                <a:solidFill>
                  <a:schemeClr val="folHlink"/>
                </a:solidFill>
              </a:rPr>
              <a:t>решать эти проблемы</a:t>
            </a:r>
            <a:r>
              <a:rPr lang="ru-RU" sz="2400" dirty="0"/>
              <a:t>, используя математические знания и методы;</a:t>
            </a:r>
          </a:p>
          <a:p>
            <a:pPr>
              <a:buFontTx/>
              <a:buChar char="•"/>
            </a:pPr>
            <a:r>
              <a:rPr lang="ru-RU" sz="2400" dirty="0"/>
              <a:t>научить </a:t>
            </a:r>
            <a:r>
              <a:rPr lang="ru-RU" sz="2400" dirty="0">
                <a:solidFill>
                  <a:schemeClr val="folHlink"/>
                </a:solidFill>
              </a:rPr>
              <a:t>анализировать</a:t>
            </a:r>
            <a:r>
              <a:rPr lang="ru-RU" sz="2400" dirty="0"/>
              <a:t> использованные методы решения;</a:t>
            </a:r>
          </a:p>
          <a:p>
            <a:pPr>
              <a:buFontTx/>
              <a:buChar char="•"/>
            </a:pPr>
            <a:r>
              <a:rPr lang="ru-RU" sz="2400" dirty="0"/>
              <a:t>научить </a:t>
            </a:r>
            <a:r>
              <a:rPr lang="ru-RU" sz="2400" dirty="0">
                <a:solidFill>
                  <a:schemeClr val="folHlink"/>
                </a:solidFill>
              </a:rPr>
              <a:t>интерпретировать</a:t>
            </a:r>
            <a:r>
              <a:rPr lang="ru-RU" sz="2400" dirty="0"/>
              <a:t> полученные результаты с учетом поставленной проблемы; </a:t>
            </a:r>
          </a:p>
          <a:p>
            <a:pPr>
              <a:buFontTx/>
              <a:buChar char="•"/>
            </a:pPr>
            <a:r>
              <a:rPr lang="ru-RU" sz="2400" dirty="0"/>
              <a:t>научить </a:t>
            </a:r>
            <a:r>
              <a:rPr lang="ru-RU" sz="2400" dirty="0">
                <a:solidFill>
                  <a:schemeClr val="folHlink"/>
                </a:solidFill>
              </a:rPr>
              <a:t>формулировать и записывать</a:t>
            </a:r>
            <a:r>
              <a:rPr lang="ru-RU" sz="2400" dirty="0"/>
              <a:t> окончательные результаты решения поставленной проблемы. </a:t>
            </a:r>
          </a:p>
        </p:txBody>
      </p:sp>
      <p:sp>
        <p:nvSpPr>
          <p:cNvPr id="8197" name="Rectangle 5"/>
          <p:cNvSpPr>
            <a:spLocks noChangeArrowheads="1"/>
          </p:cNvSpPr>
          <p:nvPr/>
        </p:nvSpPr>
        <p:spPr bwMode="auto">
          <a:xfrm>
            <a:off x="814918" y="2276476"/>
            <a:ext cx="9160933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/>
            <a:r>
              <a:rPr lang="ru-RU" sz="4400" b="1">
                <a:solidFill>
                  <a:schemeClr val="folHlink"/>
                </a:solidFill>
              </a:rPr>
              <a:t>Задачи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336015" y="209586"/>
            <a:ext cx="146354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 smtClean="0">
                <a:solidFill>
                  <a:schemeClr val="folHlink"/>
                </a:solidFill>
              </a:rPr>
              <a:t>Цели:</a:t>
            </a:r>
            <a:endParaRPr lang="ru-RU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11896" y="258290"/>
            <a:ext cx="9262658" cy="620357"/>
          </a:xfrm>
        </p:spPr>
        <p:txBody>
          <a:bodyPr>
            <a:noAutofit/>
          </a:bodyPr>
          <a:lstStyle/>
          <a:p>
            <a:r>
              <a:rPr lang="ru-RU" sz="3600" dirty="0"/>
              <a:t>Математическая </a:t>
            </a:r>
            <a:r>
              <a:rPr lang="ru-RU" sz="3600" dirty="0" smtClean="0"/>
              <a:t>грамотность</a:t>
            </a:r>
            <a:endParaRPr lang="ru-RU" sz="3600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60B4102E-BEB3-4741-AB7E-D4005C8D55D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47577" t="53234" r="4999" b="17660"/>
          <a:stretch/>
        </p:blipFill>
        <p:spPr>
          <a:xfrm>
            <a:off x="3310265" y="2129724"/>
            <a:ext cx="5781975" cy="1861071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3731397" y="1292218"/>
            <a:ext cx="45075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Исследование </a:t>
            </a:r>
            <a:r>
              <a:rPr lang="en-US" sz="2400" b="1" dirty="0" smtClean="0"/>
              <a:t>PISA</a:t>
            </a:r>
            <a:r>
              <a:rPr lang="ru-RU" sz="2400" b="1" dirty="0" smtClean="0"/>
              <a:t> </a:t>
            </a:r>
            <a:endParaRPr lang="ru-RU" b="1" dirty="0"/>
          </a:p>
        </p:txBody>
      </p:sp>
      <p:sp>
        <p:nvSpPr>
          <p:cNvPr id="37" name="Овал 36"/>
          <p:cNvSpPr/>
          <p:nvPr/>
        </p:nvSpPr>
        <p:spPr>
          <a:xfrm>
            <a:off x="5069675" y="4659897"/>
            <a:ext cx="2380439" cy="10227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 вниз 37"/>
          <p:cNvSpPr/>
          <p:nvPr/>
        </p:nvSpPr>
        <p:spPr>
          <a:xfrm>
            <a:off x="6521645" y="5590475"/>
            <a:ext cx="414848" cy="64495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низ 38"/>
          <p:cNvSpPr/>
          <p:nvPr/>
        </p:nvSpPr>
        <p:spPr>
          <a:xfrm rot="10800000">
            <a:off x="5542146" y="4216105"/>
            <a:ext cx="414848" cy="57124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7005638" y="4659893"/>
            <a:ext cx="1145771" cy="4238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трелка вправо 40"/>
          <p:cNvSpPr/>
          <p:nvPr/>
        </p:nvSpPr>
        <p:spPr>
          <a:xfrm rot="10800000">
            <a:off x="4198825" y="4842630"/>
            <a:ext cx="1007489" cy="4238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5237592" y="5001811"/>
            <a:ext cx="21453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i="1" dirty="0" smtClean="0"/>
              <a:t>Рассуждать</a:t>
            </a:r>
            <a:endParaRPr lang="ru-RU" sz="2400" b="1" i="1" dirty="0"/>
          </a:p>
        </p:txBody>
      </p:sp>
      <p:sp>
        <p:nvSpPr>
          <p:cNvPr id="25" name="Содержимое 2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89065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210627" y="146622"/>
            <a:ext cx="9391024" cy="820595"/>
          </a:xfrm>
        </p:spPr>
        <p:txBody>
          <a:bodyPr>
            <a:normAutofit fontScale="90000"/>
          </a:bodyPr>
          <a:lstStyle/>
          <a:p>
            <a:pPr algn="r"/>
            <a:r>
              <a:rPr lang="ru-RU" sz="3800" dirty="0" smtClean="0"/>
              <a:t>Структура оценки математической грамотности </a:t>
            </a:r>
            <a:endParaRPr lang="ru-RU" sz="3800" dirty="0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231289" y="1035598"/>
            <a:ext cx="11729425" cy="5822402"/>
          </a:xfrm>
        </p:spPr>
        <p:txBody>
          <a:bodyPr>
            <a:normAutofit fontScale="62500" lnSpcReduction="20000"/>
          </a:bodyPr>
          <a:lstStyle/>
          <a:p>
            <a:r>
              <a:rPr lang="ru-RU" sz="3400" dirty="0" smtClean="0"/>
              <a:t>Математическое </a:t>
            </a: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содержание</a:t>
            </a:r>
            <a:r>
              <a:rPr lang="ru-RU" sz="3400" dirty="0" smtClean="0"/>
              <a:t>, которое используется в тестовых заданиях (предметное ядро функциональной грамотности):</a:t>
            </a:r>
          </a:p>
          <a:p>
            <a:pPr>
              <a:buNone/>
            </a:pPr>
            <a:r>
              <a:rPr lang="ru-RU" sz="3400" dirty="0" smtClean="0">
                <a:solidFill>
                  <a:schemeClr val="accent1">
                    <a:lumMod val="50000"/>
                  </a:schemeClr>
                </a:solidFill>
              </a:rPr>
              <a:t>		Изменения и зависимости </a:t>
            </a:r>
            <a:r>
              <a:rPr lang="ru-RU" sz="3400" dirty="0" smtClean="0"/>
              <a:t>(алгебра)  				</a:t>
            </a:r>
          </a:p>
          <a:p>
            <a:pPr>
              <a:buNone/>
            </a:pPr>
            <a:r>
              <a:rPr lang="ru-RU" sz="3400" dirty="0" smtClean="0">
                <a:solidFill>
                  <a:schemeClr val="accent1">
                    <a:lumMod val="50000"/>
                  </a:schemeClr>
                </a:solidFill>
              </a:rPr>
              <a:t>		Пространство и форма </a:t>
            </a:r>
            <a:r>
              <a:rPr lang="ru-RU" sz="3400" dirty="0" smtClean="0"/>
              <a:t>(геометрия)  				</a:t>
            </a:r>
          </a:p>
          <a:p>
            <a:pPr>
              <a:buNone/>
            </a:pPr>
            <a:r>
              <a:rPr lang="ru-RU" sz="3400" dirty="0" smtClean="0">
                <a:solidFill>
                  <a:schemeClr val="accent1">
                    <a:lumMod val="50000"/>
                  </a:schemeClr>
                </a:solidFill>
              </a:rPr>
              <a:t>		Неопределенность и данные </a:t>
            </a:r>
            <a:r>
              <a:rPr lang="ru-RU" sz="3400" dirty="0" smtClean="0"/>
              <a:t>(ТВ и статистика)	</a:t>
            </a:r>
          </a:p>
          <a:p>
            <a:pPr>
              <a:buNone/>
            </a:pPr>
            <a:r>
              <a:rPr lang="ru-RU" sz="3400" dirty="0" smtClean="0">
                <a:solidFill>
                  <a:schemeClr val="accent1">
                    <a:lumMod val="50000"/>
                  </a:schemeClr>
                </a:solidFill>
              </a:rPr>
              <a:t>		Количество </a:t>
            </a:r>
            <a:r>
              <a:rPr lang="ru-RU" sz="3400" dirty="0" smtClean="0"/>
              <a:t>(арифметика)</a:t>
            </a:r>
          </a:p>
          <a:p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Когнитивные</a:t>
            </a:r>
            <a:r>
              <a:rPr lang="ru-RU" sz="34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процессы </a:t>
            </a:r>
            <a:r>
              <a:rPr lang="ru-RU" sz="3400" i="1" dirty="0" smtClean="0"/>
              <a:t>(составляющие интеллектуальной деятельности)</a:t>
            </a:r>
            <a:r>
              <a:rPr lang="ru-RU" sz="3400" dirty="0" smtClean="0"/>
              <a:t>, которые описывают, что делает ученик, чтобы связать контекст, в котором представлена проблема, с математикой, необходимой для её решения </a:t>
            </a:r>
          </a:p>
          <a:p>
            <a:pPr>
              <a:buNone/>
            </a:pP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		формулировать</a:t>
            </a:r>
            <a:r>
              <a:rPr lang="ru-RU" sz="34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3400" dirty="0" smtClean="0"/>
              <a:t>ситуацию математически  	</a:t>
            </a:r>
          </a:p>
          <a:p>
            <a:pPr>
              <a:buNone/>
            </a:pP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		применять</a:t>
            </a:r>
            <a:r>
              <a:rPr lang="ru-RU" sz="3400" dirty="0" smtClean="0"/>
              <a:t> математические понятия, факты, процедуры</a:t>
            </a:r>
          </a:p>
          <a:p>
            <a:pPr>
              <a:buNone/>
            </a:pP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		интерпретировать</a:t>
            </a:r>
            <a:r>
              <a:rPr lang="ru-RU" sz="3400" dirty="0" smtClean="0"/>
              <a:t>, использовать и оценивать результаты</a:t>
            </a:r>
          </a:p>
          <a:p>
            <a:pPr>
              <a:buNone/>
            </a:pP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		рассуждать </a:t>
            </a:r>
            <a:endParaRPr lang="ru-RU" sz="3400" dirty="0" smtClean="0"/>
          </a:p>
          <a:p>
            <a:pPr lvl="0"/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Контекст</a:t>
            </a:r>
            <a:r>
              <a:rPr lang="ru-RU" sz="3400" i="1" dirty="0" smtClean="0"/>
              <a:t>,</a:t>
            </a:r>
            <a:r>
              <a:rPr lang="ru-RU" sz="3400" dirty="0" smtClean="0"/>
              <a:t>  в котором представлена проблема.</a:t>
            </a:r>
          </a:p>
          <a:p>
            <a:pPr>
              <a:buNone/>
            </a:pP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		Личная жизнь </a:t>
            </a:r>
            <a:r>
              <a:rPr lang="ru-RU" sz="3400" i="1" dirty="0" smtClean="0"/>
              <a:t>– Мир человека 	</a:t>
            </a: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Общественная жизнь </a:t>
            </a:r>
            <a:r>
              <a:rPr lang="ru-RU" sz="3400" i="1" dirty="0" smtClean="0"/>
              <a:t>– Мир социума </a:t>
            </a:r>
          </a:p>
          <a:p>
            <a:pPr>
              <a:buNone/>
            </a:pP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		Образование/профессиональная деятельность </a:t>
            </a:r>
            <a:r>
              <a:rPr lang="ru-RU" sz="3400" i="1" dirty="0" smtClean="0"/>
              <a:t>– Мир профессий </a:t>
            </a:r>
          </a:p>
          <a:p>
            <a:pPr>
              <a:buNone/>
            </a:pPr>
            <a:r>
              <a:rPr lang="ru-RU" sz="3400" i="1" dirty="0" smtClean="0">
                <a:solidFill>
                  <a:schemeClr val="accent1">
                    <a:lumMod val="50000"/>
                  </a:schemeClr>
                </a:solidFill>
              </a:rPr>
              <a:t>		Научная деятельность</a:t>
            </a:r>
            <a:r>
              <a:rPr lang="ru-RU" sz="3400" i="1" dirty="0" smtClean="0"/>
              <a:t> – Мир науки </a:t>
            </a:r>
          </a:p>
          <a:p>
            <a:endParaRPr lang="ru-RU" sz="3200" i="1" dirty="0" smtClean="0"/>
          </a:p>
          <a:p>
            <a:endParaRPr lang="ru-RU" sz="3200" i="1" dirty="0" smtClean="0"/>
          </a:p>
          <a:p>
            <a:endParaRPr lang="ru-RU" sz="3200" i="1" dirty="0" smtClean="0"/>
          </a:p>
          <a:p>
            <a:pPr lvl="0"/>
            <a:endParaRPr lang="ru-RU" sz="2900" dirty="0" smtClean="0"/>
          </a:p>
          <a:p>
            <a:endParaRPr lang="ru-RU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l="33074" t="63661" r="32670" b="16389"/>
          <a:stretch>
            <a:fillRect/>
          </a:stretch>
        </p:blipFill>
        <p:spPr bwMode="auto">
          <a:xfrm>
            <a:off x="235536" y="138441"/>
            <a:ext cx="1997528" cy="561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70679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3326296" y="-171450"/>
            <a:ext cx="8627165" cy="1600200"/>
          </a:xfrm>
        </p:spPr>
        <p:txBody>
          <a:bodyPr/>
          <a:lstStyle/>
          <a:p>
            <a:r>
              <a:rPr lang="ru-RU" sz="4000" b="1" dirty="0">
                <a:solidFill>
                  <a:schemeClr val="folHlink"/>
                </a:solidFill>
              </a:rPr>
              <a:t>Ожидаемые </a:t>
            </a:r>
            <a:r>
              <a:rPr lang="ru-RU" sz="4000" b="1" dirty="0" smtClean="0">
                <a:solidFill>
                  <a:schemeClr val="folHlink"/>
                </a:solidFill>
              </a:rPr>
              <a:t>результаты</a:t>
            </a:r>
            <a:r>
              <a:rPr lang="ru-RU" sz="4000" b="1" dirty="0" smtClean="0">
                <a:solidFill>
                  <a:schemeClr val="folHlink"/>
                </a:solidFill>
              </a:rPr>
              <a:t>:</a:t>
            </a:r>
            <a:endParaRPr lang="ru-RU" sz="4000" b="1" dirty="0">
              <a:solidFill>
                <a:schemeClr val="folHlink"/>
              </a:solidFill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lnSpc>
                <a:spcPct val="80000"/>
              </a:lnSpc>
            </a:pPr>
            <a:r>
              <a:rPr lang="ru-RU" sz="1800" dirty="0"/>
              <a:t>    </a:t>
            </a:r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Учащиеся должны уметь решать любые поставленные перед ними задачи. В зависимости от сложности задания выделены </a:t>
            </a:r>
            <a:r>
              <a:rPr lang="ru-RU" sz="2800" b="1" dirty="0">
                <a:solidFill>
                  <a:schemeClr val="folHlink"/>
                </a:solidFill>
                <a:latin typeface="Times New Roman" pitchFamily="18" charset="0"/>
                <a:cs typeface="Times New Roman" pitchFamily="18" charset="0"/>
              </a:rPr>
              <a:t>три уровня математической компетентности</a:t>
            </a:r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>
              <a:lnSpc>
                <a:spcPct val="80000"/>
              </a:lnSpc>
            </a:pPr>
            <a:endParaRPr lang="ru-RU" sz="28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80000"/>
              </a:lnSpc>
              <a:buClr>
                <a:schemeClr val="folHlink"/>
              </a:buClr>
            </a:pPr>
            <a:r>
              <a:rPr lang="ru-RU" sz="2800" dirty="0">
                <a:solidFill>
                  <a:schemeClr val="folHlink"/>
                </a:solidFill>
                <a:latin typeface="Times New Roman" pitchFamily="18" charset="0"/>
                <a:cs typeface="Times New Roman" pitchFamily="18" charset="0"/>
              </a:rPr>
              <a:t>Первый</a:t>
            </a:r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 уровень включает воспроизведение математических фактов, методов и выполнение вычислений;</a:t>
            </a:r>
            <a:br>
              <a:rPr lang="ru-RU" sz="2800" dirty="0">
                <a:latin typeface="Times New Roman" pitchFamily="18" charset="0"/>
                <a:cs typeface="Times New Roman" pitchFamily="18" charset="0"/>
              </a:rPr>
            </a:br>
            <a:endParaRPr lang="ru-RU" sz="28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80000"/>
              </a:lnSpc>
              <a:buClr>
                <a:schemeClr val="folHlink"/>
              </a:buClr>
            </a:pPr>
            <a:r>
              <a:rPr lang="ru-RU" sz="2800" dirty="0">
                <a:solidFill>
                  <a:schemeClr val="folHlink"/>
                </a:solidFill>
                <a:latin typeface="Times New Roman" pitchFamily="18" charset="0"/>
                <a:cs typeface="Times New Roman" pitchFamily="18" charset="0"/>
              </a:rPr>
              <a:t>Второй</a:t>
            </a:r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 – установление связей и интеграцию материала из разных математических тем, необходимого для решения поставленной проблемы;</a:t>
            </a:r>
            <a:br>
              <a:rPr lang="ru-RU" sz="2800" dirty="0">
                <a:latin typeface="Times New Roman" pitchFamily="18" charset="0"/>
                <a:cs typeface="Times New Roman" pitchFamily="18" charset="0"/>
              </a:rPr>
            </a:br>
            <a:endParaRPr lang="ru-RU" sz="28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80000"/>
              </a:lnSpc>
              <a:buClr>
                <a:schemeClr val="folHlink"/>
              </a:buClr>
            </a:pPr>
            <a:r>
              <a:rPr lang="ru-RU" sz="2800" dirty="0">
                <a:solidFill>
                  <a:schemeClr val="folHlink"/>
                </a:solidFill>
                <a:latin typeface="Times New Roman" pitchFamily="18" charset="0"/>
                <a:cs typeface="Times New Roman" pitchFamily="18" charset="0"/>
              </a:rPr>
              <a:t>Третий</a:t>
            </a:r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 – математические размышления, требующие обобщения и интуиции. 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OODh37QjOBBZ0dpoSk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2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3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4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5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6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527</TotalTime>
  <Words>1044</Words>
  <Application>Microsoft Office PowerPoint</Application>
  <PresentationFormat>Произвольный</PresentationFormat>
  <Paragraphs>154</Paragraphs>
  <Slides>22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Тема Office</vt:lpstr>
      <vt:lpstr>Drofa</vt:lpstr>
      <vt:lpstr>1_Drofa</vt:lpstr>
      <vt:lpstr>2_Drofa</vt:lpstr>
      <vt:lpstr>3_Drofa</vt:lpstr>
      <vt:lpstr>4_Drofa</vt:lpstr>
      <vt:lpstr>5_Drofa</vt:lpstr>
      <vt:lpstr>6_Drofa</vt:lpstr>
      <vt:lpstr>2_Тема Office</vt:lpstr>
      <vt:lpstr>think-cell Slide</vt:lpstr>
      <vt:lpstr>   Обучение математической грамотности</vt:lpstr>
      <vt:lpstr>Слайд 2</vt:lpstr>
      <vt:lpstr>Особенности математики как учебного предмета</vt:lpstr>
      <vt:lpstr>Слайд 4</vt:lpstr>
      <vt:lpstr>Сущность понятия «грамотности» определяется признаками: </vt:lpstr>
      <vt:lpstr>Слайд 6</vt:lpstr>
      <vt:lpstr>Математическая грамотность</vt:lpstr>
      <vt:lpstr>Структура оценки математической грамотности </vt:lpstr>
      <vt:lpstr>Ожидаемые результаты:</vt:lpstr>
      <vt:lpstr>Геометрия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Представление информации в различных данных</vt:lpstr>
      <vt:lpstr>Слайд 19</vt:lpstr>
      <vt:lpstr>Задания «А как в реальности?»</vt:lpstr>
      <vt:lpstr>ВЫВОДЫ</vt:lpstr>
      <vt:lpstr>Слайд 2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Zver</cp:lastModifiedBy>
  <cp:revision>1404</cp:revision>
  <cp:lastPrinted>2019-12-12T04:55:45Z</cp:lastPrinted>
  <dcterms:created xsi:type="dcterms:W3CDTF">2018-07-24T05:59:49Z</dcterms:created>
  <dcterms:modified xsi:type="dcterms:W3CDTF">2021-04-29T02:47:23Z</dcterms:modified>
</cp:coreProperties>
</file>